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vtt" ContentType="text/vt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0.xml" ContentType="application/vnd.openxmlformats-officedocument.presentationml.tags+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handoutMasterIdLst>
    <p:handoutMasterId r:id="rId17"/>
  </p:handoutMasterIdLst>
  <p:sldIdLst>
    <p:sldId id="441" r:id="rId2"/>
    <p:sldId id="462" r:id="rId3"/>
    <p:sldId id="485" r:id="rId4"/>
    <p:sldId id="486" r:id="rId5"/>
    <p:sldId id="468" r:id="rId6"/>
    <p:sldId id="455" r:id="rId7"/>
    <p:sldId id="487" r:id="rId8"/>
    <p:sldId id="484" r:id="rId9"/>
    <p:sldId id="488" r:id="rId10"/>
    <p:sldId id="475" r:id="rId11"/>
    <p:sldId id="489" r:id="rId12"/>
    <p:sldId id="483" r:id="rId13"/>
    <p:sldId id="415" r:id="rId14"/>
    <p:sldId id="432"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305660-EFBF-59BB-8860-AC200E006726}" name="Michelle Strang" initials="MS" userId="S::mstrang@eatright.org::3a48fbc2-1469-4877-80ca-94df6238d0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2566"/>
    <a:srgbClr val="95006C"/>
    <a:srgbClr val="39683E"/>
    <a:srgbClr val="006998"/>
    <a:srgbClr val="CC2229"/>
    <a:srgbClr val="2799D0"/>
    <a:srgbClr val="FFB3E9"/>
    <a:srgbClr val="ABE5FF"/>
    <a:srgbClr val="FFA3E5"/>
    <a:srgbClr val="4C7F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FE4D2D-F280-448A-BE49-F7F7AEF6C3B0}" v="31" dt="2024-04-09T20:40:50.059"/>
    <p1510:client id="{F7C242B6-78A0-4DDC-9805-7CADE1E3503E}" v="508" dt="2024-04-09T18:47:15.7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20"/>
    <p:restoredTop sz="81903" autoAdjust="0"/>
  </p:normalViewPr>
  <p:slideViewPr>
    <p:cSldViewPr snapToGrid="0">
      <p:cViewPr varScale="1">
        <p:scale>
          <a:sx n="155" d="100"/>
          <a:sy n="155" d="100"/>
        </p:scale>
        <p:origin x="208" y="240"/>
      </p:cViewPr>
      <p:guideLst/>
    </p:cSldViewPr>
  </p:slideViewPr>
  <p:outlineViewPr>
    <p:cViewPr>
      <p:scale>
        <a:sx n="33" d="100"/>
        <a:sy n="33" d="100"/>
      </p:scale>
      <p:origin x="0" y="-3576"/>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le Strang" userId="3a48fbc2-1469-4877-80ca-94df6238d0db" providerId="ADAL" clId="{F7C242B6-78A0-4DDC-9805-7CADE1E3503E}"/>
    <pc:docChg chg="undo redo custSel addSld delSld modSld sldOrd">
      <pc:chgData name="Michelle Strang" userId="3a48fbc2-1469-4877-80ca-94df6238d0db" providerId="ADAL" clId="{F7C242B6-78A0-4DDC-9805-7CADE1E3503E}" dt="2024-04-09T18:46:57.424" v="11123"/>
      <pc:docMkLst>
        <pc:docMk/>
      </pc:docMkLst>
      <pc:sldChg chg="addCm">
        <pc:chgData name="Michelle Strang" userId="3a48fbc2-1469-4877-80ca-94df6238d0db" providerId="ADAL" clId="{F7C242B6-78A0-4DDC-9805-7CADE1E3503E}" dt="2024-04-09T18:26:49.263" v="10827"/>
        <pc:sldMkLst>
          <pc:docMk/>
          <pc:sldMk cId="1805502388" sldId="415"/>
        </pc:sldMkLst>
        <pc:extLst>
          <p:ext xmlns:p="http://schemas.openxmlformats.org/presentationml/2006/main" uri="{D6D511B9-2390-475A-947B-AFAB55BFBCF1}">
            <pc226:cmChg xmlns:pc226="http://schemas.microsoft.com/office/powerpoint/2022/06/main/command" chg="add">
              <pc226:chgData name="Michelle Strang" userId="3a48fbc2-1469-4877-80ca-94df6238d0db" providerId="ADAL" clId="{F7C242B6-78A0-4DDC-9805-7CADE1E3503E}" dt="2024-04-09T18:26:49.263" v="10827"/>
              <pc2:cmMkLst xmlns:pc2="http://schemas.microsoft.com/office/powerpoint/2019/9/main/command">
                <pc:docMk/>
                <pc:sldMk cId="1805502388" sldId="415"/>
                <pc2:cmMk id="{4A8ADA65-8BA9-4A3B-9051-2D85D1F80277}"/>
              </pc2:cmMkLst>
            </pc226:cmChg>
            <pc226:cmChg xmlns:pc226="http://schemas.microsoft.com/office/powerpoint/2022/06/main/command" chg="add">
              <pc226:chgData name="Michelle Strang" userId="3a48fbc2-1469-4877-80ca-94df6238d0db" providerId="ADAL" clId="{F7C242B6-78A0-4DDC-9805-7CADE1E3503E}" dt="2024-04-09T18:26:30.910" v="10826"/>
              <pc2:cmMkLst xmlns:pc2="http://schemas.microsoft.com/office/powerpoint/2019/9/main/command">
                <pc:docMk/>
                <pc:sldMk cId="1805502388" sldId="415"/>
                <pc2:cmMk id="{68E474EC-32C8-4BB4-9127-EC4D9F0DE8A6}"/>
              </pc2:cmMkLst>
            </pc226:cmChg>
          </p:ext>
        </pc:extLst>
      </pc:sldChg>
      <pc:sldChg chg="delSp modSp mod">
        <pc:chgData name="Michelle Strang" userId="3a48fbc2-1469-4877-80ca-94df6238d0db" providerId="ADAL" clId="{F7C242B6-78A0-4DDC-9805-7CADE1E3503E}" dt="2024-04-09T15:54:08.860" v="9054" actId="20577"/>
        <pc:sldMkLst>
          <pc:docMk/>
          <pc:sldMk cId="1178616657" sldId="416"/>
        </pc:sldMkLst>
        <pc:spChg chg="mod">
          <ac:chgData name="Michelle Strang" userId="3a48fbc2-1469-4877-80ca-94df6238d0db" providerId="ADAL" clId="{F7C242B6-78A0-4DDC-9805-7CADE1E3503E}" dt="2024-04-09T15:54:08.860" v="9054" actId="20577"/>
          <ac:spMkLst>
            <pc:docMk/>
            <pc:sldMk cId="1178616657" sldId="416"/>
            <ac:spMk id="7" creationId="{FDB23240-E8BF-49F0-A7F6-E76A62B61C9E}"/>
          </ac:spMkLst>
        </pc:spChg>
        <pc:spChg chg="mod">
          <ac:chgData name="Michelle Strang" userId="3a48fbc2-1469-4877-80ca-94df6238d0db" providerId="ADAL" clId="{F7C242B6-78A0-4DDC-9805-7CADE1E3503E}" dt="2024-04-09T14:22:33.705" v="6692" actId="20577"/>
          <ac:spMkLst>
            <pc:docMk/>
            <pc:sldMk cId="1178616657" sldId="416"/>
            <ac:spMk id="17" creationId="{8C775CF7-14D6-4269-BB1E-325376A19F3E}"/>
          </ac:spMkLst>
        </pc:spChg>
        <pc:spChg chg="mod">
          <ac:chgData name="Michelle Strang" userId="3a48fbc2-1469-4877-80ca-94df6238d0db" providerId="ADAL" clId="{F7C242B6-78A0-4DDC-9805-7CADE1E3503E}" dt="2024-04-09T14:40:50.543" v="7554" actId="20577"/>
          <ac:spMkLst>
            <pc:docMk/>
            <pc:sldMk cId="1178616657" sldId="416"/>
            <ac:spMk id="26" creationId="{9A1CFF0E-5ABB-4DF4-9C30-C1B76F19B968}"/>
          </ac:spMkLst>
        </pc:spChg>
        <pc:spChg chg="mod">
          <ac:chgData name="Michelle Strang" userId="3a48fbc2-1469-4877-80ca-94df6238d0db" providerId="ADAL" clId="{F7C242B6-78A0-4DDC-9805-7CADE1E3503E}" dt="2024-04-09T14:40:38.449" v="7537" actId="20577"/>
          <ac:spMkLst>
            <pc:docMk/>
            <pc:sldMk cId="1178616657" sldId="416"/>
            <ac:spMk id="34" creationId="{C9482818-5B9F-451C-B544-2A575FFEBF0B}"/>
          </ac:spMkLst>
        </pc:spChg>
        <pc:spChg chg="del">
          <ac:chgData name="Michelle Strang" userId="3a48fbc2-1469-4877-80ca-94df6238d0db" providerId="ADAL" clId="{F7C242B6-78A0-4DDC-9805-7CADE1E3503E}" dt="2024-04-09T14:40:41.176" v="7538" actId="478"/>
          <ac:spMkLst>
            <pc:docMk/>
            <pc:sldMk cId="1178616657" sldId="416"/>
            <ac:spMk id="36" creationId="{4B214916-DCA2-4338-B271-2F09EB8D8053}"/>
          </ac:spMkLst>
        </pc:spChg>
        <pc:spChg chg="del mod">
          <ac:chgData name="Michelle Strang" userId="3a48fbc2-1469-4877-80ca-94df6238d0db" providerId="ADAL" clId="{F7C242B6-78A0-4DDC-9805-7CADE1E3503E}" dt="2024-04-09T14:27:09.497" v="7297"/>
          <ac:spMkLst>
            <pc:docMk/>
            <pc:sldMk cId="1178616657" sldId="416"/>
            <ac:spMk id="58" creationId="{8FD7CC26-467A-C027-4191-A2AA1919E456}"/>
          </ac:spMkLst>
        </pc:spChg>
        <pc:spChg chg="mod">
          <ac:chgData name="Michelle Strang" userId="3a48fbc2-1469-4877-80ca-94df6238d0db" providerId="ADAL" clId="{F7C242B6-78A0-4DDC-9805-7CADE1E3503E}" dt="2024-04-09T14:39:11.458" v="7398" actId="20577"/>
          <ac:spMkLst>
            <pc:docMk/>
            <pc:sldMk cId="1178616657" sldId="416"/>
            <ac:spMk id="61" creationId="{A43FE7F6-14DA-F0F9-7B14-BB0BF97641BB}"/>
          </ac:spMkLst>
        </pc:spChg>
        <pc:spChg chg="mod">
          <ac:chgData name="Michelle Strang" userId="3a48fbc2-1469-4877-80ca-94df6238d0db" providerId="ADAL" clId="{F7C242B6-78A0-4DDC-9805-7CADE1E3503E}" dt="2024-04-09T14:38:36.686" v="7397" actId="20577"/>
          <ac:spMkLst>
            <pc:docMk/>
            <pc:sldMk cId="1178616657" sldId="416"/>
            <ac:spMk id="63" creationId="{F2819FF4-B4F9-3141-0D21-25D176EBB4CF}"/>
          </ac:spMkLst>
        </pc:spChg>
        <pc:cxnChg chg="del mod">
          <ac:chgData name="Michelle Strang" userId="3a48fbc2-1469-4877-80ca-94df6238d0db" providerId="ADAL" clId="{F7C242B6-78A0-4DDC-9805-7CADE1E3503E}" dt="2024-04-09T14:27:09.497" v="7295" actId="478"/>
          <ac:cxnSpMkLst>
            <pc:docMk/>
            <pc:sldMk cId="1178616657" sldId="416"/>
            <ac:cxnSpMk id="20" creationId="{BFF94531-0A72-4114-9F89-109A4826C00F}"/>
          </ac:cxnSpMkLst>
        </pc:cxnChg>
      </pc:sldChg>
      <pc:sldChg chg="modSp mod ord">
        <pc:chgData name="Michelle Strang" userId="3a48fbc2-1469-4877-80ca-94df6238d0db" providerId="ADAL" clId="{F7C242B6-78A0-4DDC-9805-7CADE1E3503E}" dt="2024-04-09T16:30:38.915" v="9085" actId="20577"/>
        <pc:sldMkLst>
          <pc:docMk/>
          <pc:sldMk cId="900728941" sldId="462"/>
        </pc:sldMkLst>
        <pc:spChg chg="mod">
          <ac:chgData name="Michelle Strang" userId="3a48fbc2-1469-4877-80ca-94df6238d0db" providerId="ADAL" clId="{F7C242B6-78A0-4DDC-9805-7CADE1E3503E}" dt="2024-04-09T16:30:38.915" v="9085" actId="20577"/>
          <ac:spMkLst>
            <pc:docMk/>
            <pc:sldMk cId="900728941" sldId="462"/>
            <ac:spMk id="3" creationId="{F955B1E9-879B-9019-2B85-EEF57A921DCC}"/>
          </ac:spMkLst>
        </pc:spChg>
        <pc:graphicFrameChg chg="mod modGraphic">
          <ac:chgData name="Michelle Strang" userId="3a48fbc2-1469-4877-80ca-94df6238d0db" providerId="ADAL" clId="{F7C242B6-78A0-4DDC-9805-7CADE1E3503E}" dt="2024-04-09T12:44:15.966" v="3796" actId="1076"/>
          <ac:graphicFrameMkLst>
            <pc:docMk/>
            <pc:sldMk cId="900728941" sldId="462"/>
            <ac:graphicFrameMk id="4" creationId="{C5E1130A-0F30-5429-360D-7FD9553CF88A}"/>
          </ac:graphicFrameMkLst>
        </pc:graphicFrameChg>
      </pc:sldChg>
      <pc:sldChg chg="modSp mod">
        <pc:chgData name="Michelle Strang" userId="3a48fbc2-1469-4877-80ca-94df6238d0db" providerId="ADAL" clId="{F7C242B6-78A0-4DDC-9805-7CADE1E3503E}" dt="2024-04-09T12:50:25.587" v="5036" actId="6549"/>
        <pc:sldMkLst>
          <pc:docMk/>
          <pc:sldMk cId="2538504890" sldId="465"/>
        </pc:sldMkLst>
        <pc:spChg chg="mod">
          <ac:chgData name="Michelle Strang" userId="3a48fbc2-1469-4877-80ca-94df6238d0db" providerId="ADAL" clId="{F7C242B6-78A0-4DDC-9805-7CADE1E3503E}" dt="2024-04-09T12:46:47.557" v="4353" actId="6549"/>
          <ac:spMkLst>
            <pc:docMk/>
            <pc:sldMk cId="2538504890" sldId="465"/>
            <ac:spMk id="2" creationId="{F73A808C-02B7-2090-7DB4-8F3EF634B2B8}"/>
          </ac:spMkLst>
        </pc:spChg>
        <pc:spChg chg="mod">
          <ac:chgData name="Michelle Strang" userId="3a48fbc2-1469-4877-80ca-94df6238d0db" providerId="ADAL" clId="{F7C242B6-78A0-4DDC-9805-7CADE1E3503E}" dt="2024-04-09T12:50:25.587" v="5036" actId="6549"/>
          <ac:spMkLst>
            <pc:docMk/>
            <pc:sldMk cId="2538504890" sldId="465"/>
            <ac:spMk id="3" creationId="{A35AE254-CF33-A827-DCF2-B6922C38127E}"/>
          </ac:spMkLst>
        </pc:spChg>
      </pc:sldChg>
      <pc:sldChg chg="modSp mod">
        <pc:chgData name="Michelle Strang" userId="3a48fbc2-1469-4877-80ca-94df6238d0db" providerId="ADAL" clId="{F7C242B6-78A0-4DDC-9805-7CADE1E3503E}" dt="2024-04-09T12:35:23.742" v="3184" actId="6549"/>
        <pc:sldMkLst>
          <pc:docMk/>
          <pc:sldMk cId="938721965" sldId="468"/>
        </pc:sldMkLst>
        <pc:spChg chg="mod">
          <ac:chgData name="Michelle Strang" userId="3a48fbc2-1469-4877-80ca-94df6238d0db" providerId="ADAL" clId="{F7C242B6-78A0-4DDC-9805-7CADE1E3503E}" dt="2024-04-09T12:35:23.742" v="3184" actId="6549"/>
          <ac:spMkLst>
            <pc:docMk/>
            <pc:sldMk cId="938721965" sldId="468"/>
            <ac:spMk id="5" creationId="{FF14FC66-9A0F-4A68-B23F-EF745545E8D1}"/>
          </ac:spMkLst>
        </pc:spChg>
      </pc:sldChg>
      <pc:sldChg chg="delSp modSp mod">
        <pc:chgData name="Michelle Strang" userId="3a48fbc2-1469-4877-80ca-94df6238d0db" providerId="ADAL" clId="{F7C242B6-78A0-4DDC-9805-7CADE1E3503E}" dt="2024-04-09T14:49:06.176" v="8163" actId="20577"/>
        <pc:sldMkLst>
          <pc:docMk/>
          <pc:sldMk cId="2422424131" sldId="471"/>
        </pc:sldMkLst>
        <pc:spChg chg="mod">
          <ac:chgData name="Michelle Strang" userId="3a48fbc2-1469-4877-80ca-94df6238d0db" providerId="ADAL" clId="{F7C242B6-78A0-4DDC-9805-7CADE1E3503E}" dt="2024-04-09T12:36:24.420" v="3193" actId="6549"/>
          <ac:spMkLst>
            <pc:docMk/>
            <pc:sldMk cId="2422424131" sldId="471"/>
            <ac:spMk id="2" creationId="{8A020C42-0E76-0065-A0D2-936E882B33F5}"/>
          </ac:spMkLst>
        </pc:spChg>
        <pc:spChg chg="mod">
          <ac:chgData name="Michelle Strang" userId="3a48fbc2-1469-4877-80ca-94df6238d0db" providerId="ADAL" clId="{F7C242B6-78A0-4DDC-9805-7CADE1E3503E}" dt="2024-04-09T14:49:06.176" v="8163" actId="20577"/>
          <ac:spMkLst>
            <pc:docMk/>
            <pc:sldMk cId="2422424131" sldId="471"/>
            <ac:spMk id="3" creationId="{2BAE3872-7BBA-40D7-7837-9CE03331193B}"/>
          </ac:spMkLst>
        </pc:spChg>
        <pc:spChg chg="del">
          <ac:chgData name="Michelle Strang" userId="3a48fbc2-1469-4877-80ca-94df6238d0db" providerId="ADAL" clId="{F7C242B6-78A0-4DDC-9805-7CADE1E3503E}" dt="2024-04-09T12:52:20.105" v="5043" actId="478"/>
          <ac:spMkLst>
            <pc:docMk/>
            <pc:sldMk cId="2422424131" sldId="471"/>
            <ac:spMk id="17" creationId="{D5A581C6-69ED-022B-8338-D006A27FFB04}"/>
          </ac:spMkLst>
        </pc:spChg>
        <pc:picChg chg="del">
          <ac:chgData name="Michelle Strang" userId="3a48fbc2-1469-4877-80ca-94df6238d0db" providerId="ADAL" clId="{F7C242B6-78A0-4DDC-9805-7CADE1E3503E}" dt="2024-04-09T12:52:18.238" v="5042" actId="478"/>
          <ac:picMkLst>
            <pc:docMk/>
            <pc:sldMk cId="2422424131" sldId="471"/>
            <ac:picMk id="4" creationId="{D5062EDF-AECF-88FB-BDD8-3D97DAC19D1E}"/>
          </ac:picMkLst>
        </pc:picChg>
        <pc:picChg chg="mod">
          <ac:chgData name="Michelle Strang" userId="3a48fbc2-1469-4877-80ca-94df6238d0db" providerId="ADAL" clId="{F7C242B6-78A0-4DDC-9805-7CADE1E3503E}" dt="2024-04-09T12:36:18.716" v="3189" actId="1076"/>
          <ac:picMkLst>
            <pc:docMk/>
            <pc:sldMk cId="2422424131" sldId="471"/>
            <ac:picMk id="7" creationId="{D6589FB9-585D-E41C-2A0F-ACA7DDF58EF5}"/>
          </ac:picMkLst>
        </pc:picChg>
      </pc:sldChg>
      <pc:sldChg chg="modSp">
        <pc:chgData name="Michelle Strang" userId="3a48fbc2-1469-4877-80ca-94df6238d0db" providerId="ADAL" clId="{F7C242B6-78A0-4DDC-9805-7CADE1E3503E}" dt="2024-04-09T15:49:56.756" v="8775" actId="20577"/>
        <pc:sldMkLst>
          <pc:docMk/>
          <pc:sldMk cId="3988835305" sldId="473"/>
        </pc:sldMkLst>
        <pc:graphicFrameChg chg="mod">
          <ac:chgData name="Michelle Strang" userId="3a48fbc2-1469-4877-80ca-94df6238d0db" providerId="ADAL" clId="{F7C242B6-78A0-4DDC-9805-7CADE1E3503E}" dt="2024-04-09T15:49:56.756" v="8775" actId="20577"/>
          <ac:graphicFrameMkLst>
            <pc:docMk/>
            <pc:sldMk cId="3988835305" sldId="473"/>
            <ac:graphicFrameMk id="14" creationId="{A9D74060-12E5-AC70-C946-919EF6D4CE4D}"/>
          </ac:graphicFrameMkLst>
        </pc:graphicFrameChg>
      </pc:sldChg>
      <pc:sldChg chg="del">
        <pc:chgData name="Michelle Strang" userId="3a48fbc2-1469-4877-80ca-94df6238d0db" providerId="ADAL" clId="{F7C242B6-78A0-4DDC-9805-7CADE1E3503E}" dt="2024-04-09T12:35:51.187" v="3185" actId="47"/>
        <pc:sldMkLst>
          <pc:docMk/>
          <pc:sldMk cId="2114796274" sldId="474"/>
        </pc:sldMkLst>
      </pc:sldChg>
      <pc:sldChg chg="addSp delSp modSp mod">
        <pc:chgData name="Michelle Strang" userId="3a48fbc2-1469-4877-80ca-94df6238d0db" providerId="ADAL" clId="{F7C242B6-78A0-4DDC-9805-7CADE1E3503E}" dt="2024-04-09T18:08:10.837" v="10225" actId="20577"/>
        <pc:sldMkLst>
          <pc:docMk/>
          <pc:sldMk cId="3081174869" sldId="475"/>
        </pc:sldMkLst>
        <pc:spChg chg="mod">
          <ac:chgData name="Michelle Strang" userId="3a48fbc2-1469-4877-80ca-94df6238d0db" providerId="ADAL" clId="{F7C242B6-78A0-4DDC-9805-7CADE1E3503E}" dt="2024-04-09T18:08:10.837" v="10225" actId="20577"/>
          <ac:spMkLst>
            <pc:docMk/>
            <pc:sldMk cId="3081174869" sldId="475"/>
            <ac:spMk id="3" creationId="{2BAE3872-7BBA-40D7-7837-9CE03331193B}"/>
          </ac:spMkLst>
        </pc:spChg>
        <pc:spChg chg="add del mod">
          <ac:chgData name="Michelle Strang" userId="3a48fbc2-1469-4877-80ca-94df6238d0db" providerId="ADAL" clId="{F7C242B6-78A0-4DDC-9805-7CADE1E3503E}" dt="2024-04-09T14:49:32.453" v="8165" actId="478"/>
          <ac:spMkLst>
            <pc:docMk/>
            <pc:sldMk cId="3081174869" sldId="475"/>
            <ac:spMk id="5" creationId="{0DADF492-EA67-B866-C37B-BDA91388BFB2}"/>
          </ac:spMkLst>
        </pc:spChg>
        <pc:spChg chg="add del mod">
          <ac:chgData name="Michelle Strang" userId="3a48fbc2-1469-4877-80ca-94df6238d0db" providerId="ADAL" clId="{F7C242B6-78A0-4DDC-9805-7CADE1E3503E}" dt="2024-04-08T20:03:44.784" v="1372" actId="478"/>
          <ac:spMkLst>
            <pc:docMk/>
            <pc:sldMk cId="3081174869" sldId="475"/>
            <ac:spMk id="5" creationId="{F815AC9C-AC86-1B86-51AE-F7279CDB2218}"/>
          </ac:spMkLst>
        </pc:spChg>
        <pc:spChg chg="add del mod">
          <ac:chgData name="Michelle Strang" userId="3a48fbc2-1469-4877-80ca-94df6238d0db" providerId="ADAL" clId="{F7C242B6-78A0-4DDC-9805-7CADE1E3503E}" dt="2024-04-08T20:04:01.193" v="1374"/>
          <ac:spMkLst>
            <pc:docMk/>
            <pc:sldMk cId="3081174869" sldId="475"/>
            <ac:spMk id="9" creationId="{6B3781EB-CBAC-5E35-3B78-35F389170838}"/>
          </ac:spMkLst>
        </pc:spChg>
        <pc:graphicFrameChg chg="add mod">
          <ac:chgData name="Michelle Strang" userId="3a48fbc2-1469-4877-80ca-94df6238d0db" providerId="ADAL" clId="{F7C242B6-78A0-4DDC-9805-7CADE1E3503E}" dt="2024-04-08T20:03:43.547" v="1371"/>
          <ac:graphicFrameMkLst>
            <pc:docMk/>
            <pc:sldMk cId="3081174869" sldId="475"/>
            <ac:graphicFrameMk id="7" creationId="{86B1EA91-E06D-39E3-6EA2-7483DA30254E}"/>
          </ac:graphicFrameMkLst>
        </pc:graphicFrameChg>
        <pc:graphicFrameChg chg="add del mod">
          <ac:chgData name="Michelle Strang" userId="3a48fbc2-1469-4877-80ca-94df6238d0db" providerId="ADAL" clId="{F7C242B6-78A0-4DDC-9805-7CADE1E3503E}" dt="2024-04-09T14:49:30.208" v="8164" actId="478"/>
          <ac:graphicFrameMkLst>
            <pc:docMk/>
            <pc:sldMk cId="3081174869" sldId="475"/>
            <ac:graphicFrameMk id="10" creationId="{43254C92-D949-9FB8-ADE6-72C83B61B9F1}"/>
          </ac:graphicFrameMkLst>
        </pc:graphicFrameChg>
        <pc:picChg chg="add del mod">
          <ac:chgData name="Michelle Strang" userId="3a48fbc2-1469-4877-80ca-94df6238d0db" providerId="ADAL" clId="{F7C242B6-78A0-4DDC-9805-7CADE1E3503E}" dt="2024-04-09T14:49:55.220" v="8172" actId="1076"/>
          <ac:picMkLst>
            <pc:docMk/>
            <pc:sldMk cId="3081174869" sldId="475"/>
            <ac:picMk id="6" creationId="{6F7C2C12-37B4-42F6-B88B-434EAA34DC8E}"/>
          </ac:picMkLst>
        </pc:picChg>
        <pc:picChg chg="add del mod">
          <ac:chgData name="Michelle Strang" userId="3a48fbc2-1469-4877-80ca-94df6238d0db" providerId="ADAL" clId="{F7C242B6-78A0-4DDC-9805-7CADE1E3503E}" dt="2024-04-08T20:05:41.562" v="1390" actId="478"/>
          <ac:picMkLst>
            <pc:docMk/>
            <pc:sldMk cId="3081174869" sldId="475"/>
            <ac:picMk id="12" creationId="{D36AC0F3-362E-4689-D1C7-8754B521AEA3}"/>
          </ac:picMkLst>
        </pc:picChg>
        <pc:picChg chg="add del mod">
          <ac:chgData name="Michelle Strang" userId="3a48fbc2-1469-4877-80ca-94df6238d0db" providerId="ADAL" clId="{F7C242B6-78A0-4DDC-9805-7CADE1E3503E}" dt="2024-04-08T20:06:01.361" v="1394" actId="478"/>
          <ac:picMkLst>
            <pc:docMk/>
            <pc:sldMk cId="3081174869" sldId="475"/>
            <ac:picMk id="14" creationId="{F60FA0E4-FEC3-EF1E-F5C5-B74FDA24B6F6}"/>
          </ac:picMkLst>
        </pc:picChg>
        <pc:picChg chg="add del mod">
          <ac:chgData name="Michelle Strang" userId="3a48fbc2-1469-4877-80ca-94df6238d0db" providerId="ADAL" clId="{F7C242B6-78A0-4DDC-9805-7CADE1E3503E}" dt="2024-04-09T14:49:39.773" v="8169" actId="478"/>
          <ac:picMkLst>
            <pc:docMk/>
            <pc:sldMk cId="3081174869" sldId="475"/>
            <ac:picMk id="16" creationId="{47874C5E-65DF-C7E5-43A9-C3125C7848D9}"/>
          </ac:picMkLst>
        </pc:picChg>
        <pc:picChg chg="add del mod">
          <ac:chgData name="Michelle Strang" userId="3a48fbc2-1469-4877-80ca-94df6238d0db" providerId="ADAL" clId="{F7C242B6-78A0-4DDC-9805-7CADE1E3503E}" dt="2024-04-08T20:06:32.562" v="1402" actId="478"/>
          <ac:picMkLst>
            <pc:docMk/>
            <pc:sldMk cId="3081174869" sldId="475"/>
            <ac:picMk id="18" creationId="{1664609D-EEFE-2BEF-A1A2-55502AD73FFE}"/>
          </ac:picMkLst>
        </pc:picChg>
      </pc:sldChg>
      <pc:sldChg chg="addSp delSp modSp del mod">
        <pc:chgData name="Michelle Strang" userId="3a48fbc2-1469-4877-80ca-94df6238d0db" providerId="ADAL" clId="{F7C242B6-78A0-4DDC-9805-7CADE1E3503E}" dt="2024-04-09T15:39:45.455" v="8368" actId="47"/>
        <pc:sldMkLst>
          <pc:docMk/>
          <pc:sldMk cId="1044280875" sldId="476"/>
        </pc:sldMkLst>
        <pc:spChg chg="mod">
          <ac:chgData name="Michelle Strang" userId="3a48fbc2-1469-4877-80ca-94df6238d0db" providerId="ADAL" clId="{F7C242B6-78A0-4DDC-9805-7CADE1E3503E}" dt="2024-04-09T15:37:43.560" v="8331" actId="21"/>
          <ac:spMkLst>
            <pc:docMk/>
            <pc:sldMk cId="1044280875" sldId="476"/>
            <ac:spMk id="3" creationId="{2BAE3872-7BBA-40D7-7837-9CE03331193B}"/>
          </ac:spMkLst>
        </pc:spChg>
        <pc:spChg chg="add mod">
          <ac:chgData name="Michelle Strang" userId="3a48fbc2-1469-4877-80ca-94df6238d0db" providerId="ADAL" clId="{F7C242B6-78A0-4DDC-9805-7CADE1E3503E}" dt="2024-04-09T14:49:50.892" v="8170" actId="21"/>
          <ac:spMkLst>
            <pc:docMk/>
            <pc:sldMk cId="1044280875" sldId="476"/>
            <ac:spMk id="5" creationId="{CBB4ECB3-1504-4000-0E59-30CA3CE02B17}"/>
          </ac:spMkLst>
        </pc:spChg>
        <pc:picChg chg="del">
          <ac:chgData name="Michelle Strang" userId="3a48fbc2-1469-4877-80ca-94df6238d0db" providerId="ADAL" clId="{F7C242B6-78A0-4DDC-9805-7CADE1E3503E}" dt="2024-04-09T14:49:50.892" v="8170" actId="21"/>
          <ac:picMkLst>
            <pc:docMk/>
            <pc:sldMk cId="1044280875" sldId="476"/>
            <ac:picMk id="6" creationId="{6F7C2C12-37B4-42F6-B88B-434EAA34DC8E}"/>
          </ac:picMkLst>
        </pc:picChg>
      </pc:sldChg>
      <pc:sldChg chg="addSp delSp modSp del mod">
        <pc:chgData name="Michelle Strang" userId="3a48fbc2-1469-4877-80ca-94df6238d0db" providerId="ADAL" clId="{F7C242B6-78A0-4DDC-9805-7CADE1E3503E}" dt="2024-04-09T12:33:43.170" v="3087" actId="47"/>
        <pc:sldMkLst>
          <pc:docMk/>
          <pc:sldMk cId="1602723775" sldId="477"/>
        </pc:sldMkLst>
        <pc:spChg chg="add del mod">
          <ac:chgData name="Michelle Strang" userId="3a48fbc2-1469-4877-80ca-94df6238d0db" providerId="ADAL" clId="{F7C242B6-78A0-4DDC-9805-7CADE1E3503E}" dt="2024-04-09T12:32:21.681" v="3075" actId="478"/>
          <ac:spMkLst>
            <pc:docMk/>
            <pc:sldMk cId="1602723775" sldId="477"/>
            <ac:spMk id="3" creationId="{1AF1C290-8175-D3F1-857A-5A000188C630}"/>
          </ac:spMkLst>
        </pc:spChg>
        <pc:graphicFrameChg chg="mod">
          <ac:chgData name="Michelle Strang" userId="3a48fbc2-1469-4877-80ca-94df6238d0db" providerId="ADAL" clId="{F7C242B6-78A0-4DDC-9805-7CADE1E3503E}" dt="2024-04-09T12:33:11.019" v="3086"/>
          <ac:graphicFrameMkLst>
            <pc:docMk/>
            <pc:sldMk cId="1602723775" sldId="477"/>
            <ac:graphicFrameMk id="11" creationId="{AFD63952-1A34-A353-25B6-3C2D35AD6979}"/>
          </ac:graphicFrameMkLst>
        </pc:graphicFrameChg>
        <pc:picChg chg="del">
          <ac:chgData name="Michelle Strang" userId="3a48fbc2-1469-4877-80ca-94df6238d0db" providerId="ADAL" clId="{F7C242B6-78A0-4DDC-9805-7CADE1E3503E}" dt="2024-04-09T12:32:14.821" v="3073" actId="478"/>
          <ac:picMkLst>
            <pc:docMk/>
            <pc:sldMk cId="1602723775" sldId="477"/>
            <ac:picMk id="15" creationId="{86CF86B5-53B0-98A6-5AC0-D2A00355DDFA}"/>
          </ac:picMkLst>
        </pc:picChg>
      </pc:sldChg>
      <pc:sldChg chg="addSp delSp modSp del mod">
        <pc:chgData name="Michelle Strang" userId="3a48fbc2-1469-4877-80ca-94df6238d0db" providerId="ADAL" clId="{F7C242B6-78A0-4DDC-9805-7CADE1E3503E}" dt="2024-04-09T14:12:53.233" v="5451" actId="47"/>
        <pc:sldMkLst>
          <pc:docMk/>
          <pc:sldMk cId="2509471248" sldId="479"/>
        </pc:sldMkLst>
        <pc:spChg chg="add del mod">
          <ac:chgData name="Michelle Strang" userId="3a48fbc2-1469-4877-80ca-94df6238d0db" providerId="ADAL" clId="{F7C242B6-78A0-4DDC-9805-7CADE1E3503E}" dt="2024-04-09T12:53:54.719" v="5227" actId="478"/>
          <ac:spMkLst>
            <pc:docMk/>
            <pc:sldMk cId="2509471248" sldId="479"/>
            <ac:spMk id="6" creationId="{27959535-0CD1-27B8-EF68-B66770BAD1B1}"/>
          </ac:spMkLst>
        </pc:spChg>
        <pc:picChg chg="del">
          <ac:chgData name="Michelle Strang" userId="3a48fbc2-1469-4877-80ca-94df6238d0db" providerId="ADAL" clId="{F7C242B6-78A0-4DDC-9805-7CADE1E3503E}" dt="2024-04-09T12:53:52.004" v="5226" actId="478"/>
          <ac:picMkLst>
            <pc:docMk/>
            <pc:sldMk cId="2509471248" sldId="479"/>
            <ac:picMk id="7" creationId="{83B288DF-6502-CA97-0E04-AED4A855FEAE}"/>
          </ac:picMkLst>
        </pc:picChg>
      </pc:sldChg>
      <pc:sldChg chg="addSp delSp modSp mod">
        <pc:chgData name="Michelle Strang" userId="3a48fbc2-1469-4877-80ca-94df6238d0db" providerId="ADAL" clId="{F7C242B6-78A0-4DDC-9805-7CADE1E3503E}" dt="2024-04-09T18:46:28.931" v="11113"/>
        <pc:sldMkLst>
          <pc:docMk/>
          <pc:sldMk cId="4115257105" sldId="480"/>
        </pc:sldMkLst>
        <pc:spChg chg="mod">
          <ac:chgData name="Michelle Strang" userId="3a48fbc2-1469-4877-80ca-94df6238d0db" providerId="ADAL" clId="{F7C242B6-78A0-4DDC-9805-7CADE1E3503E}" dt="2024-04-09T16:45:06.009" v="9929" actId="1076"/>
          <ac:spMkLst>
            <pc:docMk/>
            <pc:sldMk cId="4115257105" sldId="480"/>
            <ac:spMk id="4" creationId="{5395D5D5-D78E-4174-807B-70232B3B364C}"/>
          </ac:spMkLst>
        </pc:spChg>
        <pc:spChg chg="mod">
          <ac:chgData name="Michelle Strang" userId="3a48fbc2-1469-4877-80ca-94df6238d0db" providerId="ADAL" clId="{F7C242B6-78A0-4DDC-9805-7CADE1E3503E}" dt="2024-04-09T18:19:03.941" v="10603" actId="1076"/>
          <ac:spMkLst>
            <pc:docMk/>
            <pc:sldMk cId="4115257105" sldId="480"/>
            <ac:spMk id="6" creationId="{13E60A71-14B9-430A-9116-39022B893DE2}"/>
          </ac:spMkLst>
        </pc:spChg>
        <pc:spChg chg="mod">
          <ac:chgData name="Michelle Strang" userId="3a48fbc2-1469-4877-80ca-94df6238d0db" providerId="ADAL" clId="{F7C242B6-78A0-4DDC-9805-7CADE1E3503E}" dt="2024-04-09T18:23:42.971" v="10767" actId="313"/>
          <ac:spMkLst>
            <pc:docMk/>
            <pc:sldMk cId="4115257105" sldId="480"/>
            <ac:spMk id="7" creationId="{FDB23240-E8BF-49F0-A7F6-E76A62B61C9E}"/>
          </ac:spMkLst>
        </pc:spChg>
        <pc:spChg chg="mod">
          <ac:chgData name="Michelle Strang" userId="3a48fbc2-1469-4877-80ca-94df6238d0db" providerId="ADAL" clId="{F7C242B6-78A0-4DDC-9805-7CADE1E3503E}" dt="2024-04-09T18:17:53.373" v="10473" actId="1076"/>
          <ac:spMkLst>
            <pc:docMk/>
            <pc:sldMk cId="4115257105" sldId="480"/>
            <ac:spMk id="8" creationId="{87C6B456-0DE7-453D-A036-7AC3DC6901F4}"/>
          </ac:spMkLst>
        </pc:spChg>
        <pc:spChg chg="mod">
          <ac:chgData name="Michelle Strang" userId="3a48fbc2-1469-4877-80ca-94df6238d0db" providerId="ADAL" clId="{F7C242B6-78A0-4DDC-9805-7CADE1E3503E}" dt="2024-04-09T18:17:47.617" v="10471" actId="14100"/>
          <ac:spMkLst>
            <pc:docMk/>
            <pc:sldMk cId="4115257105" sldId="480"/>
            <ac:spMk id="10" creationId="{6A785ED8-F477-43A5-BFD8-095E0C02947B}"/>
          </ac:spMkLst>
        </pc:spChg>
        <pc:spChg chg="mod">
          <ac:chgData name="Michelle Strang" userId="3a48fbc2-1469-4877-80ca-94df6238d0db" providerId="ADAL" clId="{F7C242B6-78A0-4DDC-9805-7CADE1E3503E}" dt="2024-04-09T18:17:51.168" v="10472" actId="14100"/>
          <ac:spMkLst>
            <pc:docMk/>
            <pc:sldMk cId="4115257105" sldId="480"/>
            <ac:spMk id="11" creationId="{5A1B3357-053B-4A60-B1D6-0D745A73B38B}"/>
          </ac:spMkLst>
        </pc:spChg>
        <pc:spChg chg="mod">
          <ac:chgData name="Michelle Strang" userId="3a48fbc2-1469-4877-80ca-94df6238d0db" providerId="ADAL" clId="{F7C242B6-78A0-4DDC-9805-7CADE1E3503E}" dt="2024-04-09T16:44:14.420" v="9869" actId="20577"/>
          <ac:spMkLst>
            <pc:docMk/>
            <pc:sldMk cId="4115257105" sldId="480"/>
            <ac:spMk id="13" creationId="{E65F5300-EC11-4B7D-AF8B-B664F54E284E}"/>
          </ac:spMkLst>
        </pc:spChg>
        <pc:spChg chg="add del mod">
          <ac:chgData name="Michelle Strang" userId="3a48fbc2-1469-4877-80ca-94df6238d0db" providerId="ADAL" clId="{F7C242B6-78A0-4DDC-9805-7CADE1E3503E}" dt="2024-04-09T18:34:31.069" v="10984"/>
          <ac:spMkLst>
            <pc:docMk/>
            <pc:sldMk cId="4115257105" sldId="480"/>
            <ac:spMk id="14" creationId="{A42DC37E-6E17-730B-3A75-F3DEC205F612}"/>
          </ac:spMkLst>
        </pc:spChg>
        <pc:spChg chg="add del mod">
          <ac:chgData name="Michelle Strang" userId="3a48fbc2-1469-4877-80ca-94df6238d0db" providerId="ADAL" clId="{F7C242B6-78A0-4DDC-9805-7CADE1E3503E}" dt="2024-04-09T18:36:45.758" v="11015"/>
          <ac:spMkLst>
            <pc:docMk/>
            <pc:sldMk cId="4115257105" sldId="480"/>
            <ac:spMk id="15" creationId="{48C9398B-852F-666D-D3C3-D36915145B78}"/>
          </ac:spMkLst>
        </pc:spChg>
        <pc:spChg chg="add del mod">
          <ac:chgData name="Michelle Strang" userId="3a48fbc2-1469-4877-80ca-94df6238d0db" providerId="ADAL" clId="{F7C242B6-78A0-4DDC-9805-7CADE1E3503E}" dt="2024-04-09T18:46:17.241" v="11108"/>
          <ac:spMkLst>
            <pc:docMk/>
            <pc:sldMk cId="4115257105" sldId="480"/>
            <ac:spMk id="16" creationId="{438114EA-8BA3-D7DD-1448-83E2C74CA037}"/>
          </ac:spMkLst>
        </pc:spChg>
        <pc:spChg chg="del mod">
          <ac:chgData name="Michelle Strang" userId="3a48fbc2-1469-4877-80ca-94df6238d0db" providerId="ADAL" clId="{F7C242B6-78A0-4DDC-9805-7CADE1E3503E}" dt="2024-04-09T16:35:16.589" v="9214" actId="478"/>
          <ac:spMkLst>
            <pc:docMk/>
            <pc:sldMk cId="4115257105" sldId="480"/>
            <ac:spMk id="17" creationId="{8C775CF7-14D6-4269-BB1E-325376A19F3E}"/>
          </ac:spMkLst>
        </pc:spChg>
        <pc:spChg chg="add del mod">
          <ac:chgData name="Michelle Strang" userId="3a48fbc2-1469-4877-80ca-94df6238d0db" providerId="ADAL" clId="{F7C242B6-78A0-4DDC-9805-7CADE1E3503E}" dt="2024-04-09T18:46:28.931" v="11113"/>
          <ac:spMkLst>
            <pc:docMk/>
            <pc:sldMk cId="4115257105" sldId="480"/>
            <ac:spMk id="19" creationId="{CF42F3E9-6AA1-70D5-D470-57D48BC306B2}"/>
          </ac:spMkLst>
        </pc:spChg>
        <pc:spChg chg="del mod">
          <ac:chgData name="Michelle Strang" userId="3a48fbc2-1469-4877-80ca-94df6238d0db" providerId="ADAL" clId="{F7C242B6-78A0-4DDC-9805-7CADE1E3503E}" dt="2024-04-09T18:45:00.664" v="11102"/>
          <ac:spMkLst>
            <pc:docMk/>
            <pc:sldMk cId="4115257105" sldId="480"/>
            <ac:spMk id="22" creationId="{A0D4236F-7877-4414-BB46-1108E087DB04}"/>
          </ac:spMkLst>
        </pc:spChg>
        <pc:spChg chg="del">
          <ac:chgData name="Michelle Strang" userId="3a48fbc2-1469-4877-80ca-94df6238d0db" providerId="ADAL" clId="{F7C242B6-78A0-4DDC-9805-7CADE1E3503E}" dt="2024-04-09T15:37:54.190" v="8335" actId="478"/>
          <ac:spMkLst>
            <pc:docMk/>
            <pc:sldMk cId="4115257105" sldId="480"/>
            <ac:spMk id="26" creationId="{9A1CFF0E-5ABB-4DF4-9C30-C1B76F19B968}"/>
          </ac:spMkLst>
        </pc:spChg>
        <pc:spChg chg="del mod">
          <ac:chgData name="Michelle Strang" userId="3a48fbc2-1469-4877-80ca-94df6238d0db" providerId="ADAL" clId="{F7C242B6-78A0-4DDC-9805-7CADE1E3503E}" dt="2024-04-09T18:22:40.860" v="10708"/>
          <ac:spMkLst>
            <pc:docMk/>
            <pc:sldMk cId="4115257105" sldId="480"/>
            <ac:spMk id="27" creationId="{6F0EEF58-39A9-44A3-905F-C44DBEA9B084}"/>
          </ac:spMkLst>
        </pc:spChg>
        <pc:spChg chg="mod">
          <ac:chgData name="Michelle Strang" userId="3a48fbc2-1469-4877-80ca-94df6238d0db" providerId="ADAL" clId="{F7C242B6-78A0-4DDC-9805-7CADE1E3503E}" dt="2024-04-09T18:11:08.342" v="10233" actId="207"/>
          <ac:spMkLst>
            <pc:docMk/>
            <pc:sldMk cId="4115257105" sldId="480"/>
            <ac:spMk id="32" creationId="{158CA770-DD36-48FC-8C83-6DAEDC1512F8}"/>
          </ac:spMkLst>
        </pc:spChg>
        <pc:spChg chg="mod">
          <ac:chgData name="Michelle Strang" userId="3a48fbc2-1469-4877-80ca-94df6238d0db" providerId="ADAL" clId="{F7C242B6-78A0-4DDC-9805-7CADE1E3503E}" dt="2024-04-09T18:11:14.169" v="10234" actId="1076"/>
          <ac:spMkLst>
            <pc:docMk/>
            <pc:sldMk cId="4115257105" sldId="480"/>
            <ac:spMk id="34" creationId="{C9482818-5B9F-451C-B544-2A575FFEBF0B}"/>
          </ac:spMkLst>
        </pc:spChg>
        <pc:spChg chg="mod">
          <ac:chgData name="Michelle Strang" userId="3a48fbc2-1469-4877-80ca-94df6238d0db" providerId="ADAL" clId="{F7C242B6-78A0-4DDC-9805-7CADE1E3503E}" dt="2024-04-09T18:10:45.120" v="10232" actId="20577"/>
          <ac:spMkLst>
            <pc:docMk/>
            <pc:sldMk cId="4115257105" sldId="480"/>
            <ac:spMk id="39" creationId="{9D1DBDFD-716F-9FC8-D195-49A8CF3C99C0}"/>
          </ac:spMkLst>
        </pc:spChg>
        <pc:spChg chg="del mod">
          <ac:chgData name="Michelle Strang" userId="3a48fbc2-1469-4877-80ca-94df6238d0db" providerId="ADAL" clId="{F7C242B6-78A0-4DDC-9805-7CADE1E3503E}" dt="2024-04-09T18:22:40.860" v="10706"/>
          <ac:spMkLst>
            <pc:docMk/>
            <pc:sldMk cId="4115257105" sldId="480"/>
            <ac:spMk id="41" creationId="{0AAEEEAD-07A3-A167-0833-E56A24F9640A}"/>
          </ac:spMkLst>
        </pc:spChg>
        <pc:spChg chg="mod">
          <ac:chgData name="Michelle Strang" userId="3a48fbc2-1469-4877-80ca-94df6238d0db" providerId="ADAL" clId="{F7C242B6-78A0-4DDC-9805-7CADE1E3503E}" dt="2024-04-09T15:46:31.148" v="8523" actId="20577"/>
          <ac:spMkLst>
            <pc:docMk/>
            <pc:sldMk cId="4115257105" sldId="480"/>
            <ac:spMk id="43" creationId="{D4D8444A-5E4B-AC5B-3FF0-39C1412AD17D}"/>
          </ac:spMkLst>
        </pc:spChg>
        <pc:spChg chg="del mod">
          <ac:chgData name="Michelle Strang" userId="3a48fbc2-1469-4877-80ca-94df6238d0db" providerId="ADAL" clId="{F7C242B6-78A0-4DDC-9805-7CADE1E3503E}" dt="2024-04-09T18:33:53.618" v="10978"/>
          <ac:spMkLst>
            <pc:docMk/>
            <pc:sldMk cId="4115257105" sldId="480"/>
            <ac:spMk id="58" creationId="{8FD7CC26-467A-C027-4191-A2AA1919E456}"/>
          </ac:spMkLst>
        </pc:spChg>
        <pc:spChg chg="mod">
          <ac:chgData name="Michelle Strang" userId="3a48fbc2-1469-4877-80ca-94df6238d0db" providerId="ADAL" clId="{F7C242B6-78A0-4DDC-9805-7CADE1E3503E}" dt="2024-04-09T18:20:58.758" v="10704" actId="20577"/>
          <ac:spMkLst>
            <pc:docMk/>
            <pc:sldMk cId="4115257105" sldId="480"/>
            <ac:spMk id="59" creationId="{28618607-BEF4-878C-FD52-D6BB0FE5297D}"/>
          </ac:spMkLst>
        </pc:spChg>
        <pc:spChg chg="del mod">
          <ac:chgData name="Michelle Strang" userId="3a48fbc2-1469-4877-80ca-94df6238d0db" providerId="ADAL" clId="{F7C242B6-78A0-4DDC-9805-7CADE1E3503E}" dt="2024-04-09T15:32:01.559" v="8175"/>
          <ac:spMkLst>
            <pc:docMk/>
            <pc:sldMk cId="4115257105" sldId="480"/>
            <ac:spMk id="61" creationId="{A43FE7F6-14DA-F0F9-7B14-BB0BF97641BB}"/>
          </ac:spMkLst>
        </pc:spChg>
        <pc:spChg chg="del">
          <ac:chgData name="Michelle Strang" userId="3a48fbc2-1469-4877-80ca-94df6238d0db" providerId="ADAL" clId="{F7C242B6-78A0-4DDC-9805-7CADE1E3503E}" dt="2024-04-09T16:37:47.921" v="9393" actId="478"/>
          <ac:spMkLst>
            <pc:docMk/>
            <pc:sldMk cId="4115257105" sldId="480"/>
            <ac:spMk id="63" creationId="{F2819FF4-B4F9-3141-0D21-25D176EBB4CF}"/>
          </ac:spMkLst>
        </pc:spChg>
        <pc:cxnChg chg="mod">
          <ac:chgData name="Michelle Strang" userId="3a48fbc2-1469-4877-80ca-94df6238d0db" providerId="ADAL" clId="{F7C242B6-78A0-4DDC-9805-7CADE1E3503E}" dt="2024-04-09T16:45:15.973" v="9931" actId="1076"/>
          <ac:cxnSpMkLst>
            <pc:docMk/>
            <pc:sldMk cId="4115257105" sldId="480"/>
            <ac:cxnSpMk id="18" creationId="{2679F95A-D04F-457D-BCFB-FB89AC791278}"/>
          </ac:cxnSpMkLst>
        </pc:cxnChg>
        <pc:cxnChg chg="mod">
          <ac:chgData name="Michelle Strang" userId="3a48fbc2-1469-4877-80ca-94df6238d0db" providerId="ADAL" clId="{F7C242B6-78A0-4DDC-9805-7CADE1E3503E}" dt="2024-04-09T16:44:57.069" v="9926" actId="1076"/>
          <ac:cxnSpMkLst>
            <pc:docMk/>
            <pc:sldMk cId="4115257105" sldId="480"/>
            <ac:cxnSpMk id="20" creationId="{BFF94531-0A72-4114-9F89-109A4826C00F}"/>
          </ac:cxnSpMkLst>
        </pc:cxnChg>
        <pc:cxnChg chg="add mod">
          <ac:chgData name="Michelle Strang" userId="3a48fbc2-1469-4877-80ca-94df6238d0db" providerId="ADAL" clId="{F7C242B6-78A0-4DDC-9805-7CADE1E3503E}" dt="2024-04-09T18:19:58.597" v="10605" actId="1076"/>
          <ac:cxnSpMkLst>
            <pc:docMk/>
            <pc:sldMk cId="4115257105" sldId="480"/>
            <ac:cxnSpMk id="21" creationId="{CF1E4DEF-5B35-D78D-9B68-BD38ECE23555}"/>
          </ac:cxnSpMkLst>
        </pc:cxnChg>
        <pc:cxnChg chg="mod">
          <ac:chgData name="Michelle Strang" userId="3a48fbc2-1469-4877-80ca-94df6238d0db" providerId="ADAL" clId="{F7C242B6-78A0-4DDC-9805-7CADE1E3503E}" dt="2024-04-09T18:17:59.544" v="10474" actId="1076"/>
          <ac:cxnSpMkLst>
            <pc:docMk/>
            <pc:sldMk cId="4115257105" sldId="480"/>
            <ac:cxnSpMk id="23" creationId="{E2B0D57F-BF00-4134-9290-BD3DB123276D}"/>
          </ac:cxnSpMkLst>
        </pc:cxnChg>
        <pc:cxnChg chg="del mod">
          <ac:chgData name="Michelle Strang" userId="3a48fbc2-1469-4877-80ca-94df6238d0db" providerId="ADAL" clId="{F7C242B6-78A0-4DDC-9805-7CADE1E3503E}" dt="2024-04-09T15:38:10.295" v="8339" actId="478"/>
          <ac:cxnSpMkLst>
            <pc:docMk/>
            <pc:sldMk cId="4115257105" sldId="480"/>
            <ac:cxnSpMk id="25" creationId="{CE67588C-6FD7-4A42-874C-5DF0EE7B6C9F}"/>
          </ac:cxnSpMkLst>
        </pc:cxnChg>
        <pc:cxnChg chg="mod">
          <ac:chgData name="Michelle Strang" userId="3a48fbc2-1469-4877-80ca-94df6238d0db" providerId="ADAL" clId="{F7C242B6-78A0-4DDC-9805-7CADE1E3503E}" dt="2024-04-09T15:47:38.491" v="8614" actId="14100"/>
          <ac:cxnSpMkLst>
            <pc:docMk/>
            <pc:sldMk cId="4115257105" sldId="480"/>
            <ac:cxnSpMk id="35" creationId="{75C6780B-D97E-452A-9775-02EFE78D8EA4}"/>
          </ac:cxnSpMkLst>
        </pc:cxnChg>
      </pc:sldChg>
      <pc:sldChg chg="addSp delSp modSp add del mod">
        <pc:chgData name="Michelle Strang" userId="3a48fbc2-1469-4877-80ca-94df6238d0db" providerId="ADAL" clId="{F7C242B6-78A0-4DDC-9805-7CADE1E3503E}" dt="2024-04-09T18:41:27.939" v="11042" actId="47"/>
        <pc:sldMkLst>
          <pc:docMk/>
          <pc:sldMk cId="19585807" sldId="481"/>
        </pc:sldMkLst>
        <pc:spChg chg="del">
          <ac:chgData name="Michelle Strang" userId="3a48fbc2-1469-4877-80ca-94df6238d0db" providerId="ADAL" clId="{F7C242B6-78A0-4DDC-9805-7CADE1E3503E}" dt="2024-04-09T18:24:18.632" v="10772" actId="478"/>
          <ac:spMkLst>
            <pc:docMk/>
            <pc:sldMk cId="19585807" sldId="481"/>
            <ac:spMk id="4" creationId="{5395D5D5-D78E-4174-807B-70232B3B364C}"/>
          </ac:spMkLst>
        </pc:spChg>
        <pc:spChg chg="del">
          <ac:chgData name="Michelle Strang" userId="3a48fbc2-1469-4877-80ca-94df6238d0db" providerId="ADAL" clId="{F7C242B6-78A0-4DDC-9805-7CADE1E3503E}" dt="2024-04-09T18:24:40.100" v="10794" actId="478"/>
          <ac:spMkLst>
            <pc:docMk/>
            <pc:sldMk cId="19585807" sldId="481"/>
            <ac:spMk id="5" creationId="{5EFD082A-1CC3-4F54-B3B9-D606F54F6B66}"/>
          </ac:spMkLst>
        </pc:spChg>
        <pc:spChg chg="del">
          <ac:chgData name="Michelle Strang" userId="3a48fbc2-1469-4877-80ca-94df6238d0db" providerId="ADAL" clId="{F7C242B6-78A0-4DDC-9805-7CADE1E3503E}" dt="2024-04-09T18:24:28.576" v="10781" actId="478"/>
          <ac:spMkLst>
            <pc:docMk/>
            <pc:sldMk cId="19585807" sldId="481"/>
            <ac:spMk id="6" creationId="{13E60A71-14B9-430A-9116-39022B893DE2}"/>
          </ac:spMkLst>
        </pc:spChg>
        <pc:spChg chg="mod">
          <ac:chgData name="Michelle Strang" userId="3a48fbc2-1469-4877-80ca-94df6238d0db" providerId="ADAL" clId="{F7C242B6-78A0-4DDC-9805-7CADE1E3503E}" dt="2024-04-09T18:24:09.842" v="10768"/>
          <ac:spMkLst>
            <pc:docMk/>
            <pc:sldMk cId="19585807" sldId="481"/>
            <ac:spMk id="7" creationId="{FDB23240-E8BF-49F0-A7F6-E76A62B61C9E}"/>
          </ac:spMkLst>
        </pc:spChg>
        <pc:spChg chg="del">
          <ac:chgData name="Michelle Strang" userId="3a48fbc2-1469-4877-80ca-94df6238d0db" providerId="ADAL" clId="{F7C242B6-78A0-4DDC-9805-7CADE1E3503E}" dt="2024-04-09T18:24:29.543" v="10782" actId="478"/>
          <ac:spMkLst>
            <pc:docMk/>
            <pc:sldMk cId="19585807" sldId="481"/>
            <ac:spMk id="8" creationId="{87C6B456-0DE7-453D-A036-7AC3DC6901F4}"/>
          </ac:spMkLst>
        </pc:spChg>
        <pc:spChg chg="del">
          <ac:chgData name="Michelle Strang" userId="3a48fbc2-1469-4877-80ca-94df6238d0db" providerId="ADAL" clId="{F7C242B6-78A0-4DDC-9805-7CADE1E3503E}" dt="2024-04-09T18:22:46.853" v="10711" actId="478"/>
          <ac:spMkLst>
            <pc:docMk/>
            <pc:sldMk cId="19585807" sldId="481"/>
            <ac:spMk id="9" creationId="{724AF0EC-2C7C-42F2-887B-F749FCFBAFD7}"/>
          </ac:spMkLst>
        </pc:spChg>
        <pc:spChg chg="del">
          <ac:chgData name="Michelle Strang" userId="3a48fbc2-1469-4877-80ca-94df6238d0db" providerId="ADAL" clId="{F7C242B6-78A0-4DDC-9805-7CADE1E3503E}" dt="2024-04-09T18:22:47.376" v="10712" actId="478"/>
          <ac:spMkLst>
            <pc:docMk/>
            <pc:sldMk cId="19585807" sldId="481"/>
            <ac:spMk id="10" creationId="{6A785ED8-F477-43A5-BFD8-095E0C02947B}"/>
          </ac:spMkLst>
        </pc:spChg>
        <pc:spChg chg="del">
          <ac:chgData name="Michelle Strang" userId="3a48fbc2-1469-4877-80ca-94df6238d0db" providerId="ADAL" clId="{F7C242B6-78A0-4DDC-9805-7CADE1E3503E}" dt="2024-04-09T18:22:48.026" v="10713" actId="478"/>
          <ac:spMkLst>
            <pc:docMk/>
            <pc:sldMk cId="19585807" sldId="481"/>
            <ac:spMk id="11" creationId="{5A1B3357-053B-4A60-B1D6-0D745A73B38B}"/>
          </ac:spMkLst>
        </pc:spChg>
        <pc:spChg chg="del">
          <ac:chgData name="Michelle Strang" userId="3a48fbc2-1469-4877-80ca-94df6238d0db" providerId="ADAL" clId="{F7C242B6-78A0-4DDC-9805-7CADE1E3503E}" dt="2024-04-09T18:22:49.005" v="10714" actId="478"/>
          <ac:spMkLst>
            <pc:docMk/>
            <pc:sldMk cId="19585807" sldId="481"/>
            <ac:spMk id="12" creationId="{F5A03DC7-816C-4F8B-A6EC-D43F4A3BA925}"/>
          </ac:spMkLst>
        </pc:spChg>
        <pc:spChg chg="del">
          <ac:chgData name="Michelle Strang" userId="3a48fbc2-1469-4877-80ca-94df6238d0db" providerId="ADAL" clId="{F7C242B6-78A0-4DDC-9805-7CADE1E3503E}" dt="2024-04-09T18:24:21.545" v="10774" actId="478"/>
          <ac:spMkLst>
            <pc:docMk/>
            <pc:sldMk cId="19585807" sldId="481"/>
            <ac:spMk id="14" creationId="{A42DC37E-6E17-730B-3A75-F3DEC205F612}"/>
          </ac:spMkLst>
        </pc:spChg>
        <pc:spChg chg="del">
          <ac:chgData name="Michelle Strang" userId="3a48fbc2-1469-4877-80ca-94df6238d0db" providerId="ADAL" clId="{F7C242B6-78A0-4DDC-9805-7CADE1E3503E}" dt="2024-04-09T18:24:22.829" v="10775" actId="478"/>
          <ac:spMkLst>
            <pc:docMk/>
            <pc:sldMk cId="19585807" sldId="481"/>
            <ac:spMk id="15" creationId="{48C9398B-852F-666D-D3C3-D36915145B78}"/>
          </ac:spMkLst>
        </pc:spChg>
        <pc:spChg chg="del">
          <ac:chgData name="Michelle Strang" userId="3a48fbc2-1469-4877-80ca-94df6238d0db" providerId="ADAL" clId="{F7C242B6-78A0-4DDC-9805-7CADE1E3503E}" dt="2024-04-09T18:24:27.142" v="10779" actId="478"/>
          <ac:spMkLst>
            <pc:docMk/>
            <pc:sldMk cId="19585807" sldId="481"/>
            <ac:spMk id="16" creationId="{438114EA-8BA3-D7DD-1448-83E2C74CA037}"/>
          </ac:spMkLst>
        </pc:spChg>
        <pc:spChg chg="del">
          <ac:chgData name="Michelle Strang" userId="3a48fbc2-1469-4877-80ca-94df6238d0db" providerId="ADAL" clId="{F7C242B6-78A0-4DDC-9805-7CADE1E3503E}" dt="2024-04-09T18:24:28.221" v="10780" actId="478"/>
          <ac:spMkLst>
            <pc:docMk/>
            <pc:sldMk cId="19585807" sldId="481"/>
            <ac:spMk id="19" creationId="{CF42F3E9-6AA1-70D5-D470-57D48BC306B2}"/>
          </ac:spMkLst>
        </pc:spChg>
        <pc:spChg chg="del mod">
          <ac:chgData name="Michelle Strang" userId="3a48fbc2-1469-4877-80ca-94df6238d0db" providerId="ADAL" clId="{F7C242B6-78A0-4DDC-9805-7CADE1E3503E}" dt="2024-04-09T18:24:26.039" v="10778" actId="478"/>
          <ac:spMkLst>
            <pc:docMk/>
            <pc:sldMk cId="19585807" sldId="481"/>
            <ac:spMk id="22" creationId="{A0D4236F-7877-4414-BB46-1108E087DB04}"/>
          </ac:spMkLst>
        </pc:spChg>
        <pc:spChg chg="del mod">
          <ac:chgData name="Michelle Strang" userId="3a48fbc2-1469-4877-80ca-94df6238d0db" providerId="ADAL" clId="{F7C242B6-78A0-4DDC-9805-7CADE1E3503E}" dt="2024-04-09T18:24:38.765" v="10793" actId="478"/>
          <ac:spMkLst>
            <pc:docMk/>
            <pc:sldMk cId="19585807" sldId="481"/>
            <ac:spMk id="32" creationId="{158CA770-DD36-48FC-8C83-6DAEDC1512F8}"/>
          </ac:spMkLst>
        </pc:spChg>
        <pc:spChg chg="del mod">
          <ac:chgData name="Michelle Strang" userId="3a48fbc2-1469-4877-80ca-94df6238d0db" providerId="ADAL" clId="{F7C242B6-78A0-4DDC-9805-7CADE1E3503E}" dt="2024-04-09T18:24:40.893" v="10795" actId="478"/>
          <ac:spMkLst>
            <pc:docMk/>
            <pc:sldMk cId="19585807" sldId="481"/>
            <ac:spMk id="34" creationId="{C9482818-5B9F-451C-B544-2A575FFEBF0B}"/>
          </ac:spMkLst>
        </pc:spChg>
        <pc:spChg chg="del">
          <ac:chgData name="Michelle Strang" userId="3a48fbc2-1469-4877-80ca-94df6238d0db" providerId="ADAL" clId="{F7C242B6-78A0-4DDC-9805-7CADE1E3503E}" dt="2024-04-09T18:24:48.145" v="10825" actId="478"/>
          <ac:spMkLst>
            <pc:docMk/>
            <pc:sldMk cId="19585807" sldId="481"/>
            <ac:spMk id="36" creationId="{4B214916-DCA2-4338-B271-2F09EB8D8053}"/>
          </ac:spMkLst>
        </pc:spChg>
        <pc:spChg chg="mod">
          <ac:chgData name="Michelle Strang" userId="3a48fbc2-1469-4877-80ca-94df6238d0db" providerId="ADAL" clId="{F7C242B6-78A0-4DDC-9805-7CADE1E3503E}" dt="2024-04-09T18:24:44.129" v="10822" actId="6549"/>
          <ac:spMkLst>
            <pc:docMk/>
            <pc:sldMk cId="19585807" sldId="481"/>
            <ac:spMk id="43" creationId="{D4D8444A-5E4B-AC5B-3FF0-39C1412AD17D}"/>
          </ac:spMkLst>
        </pc:spChg>
        <pc:spChg chg="del mod">
          <ac:chgData name="Michelle Strang" userId="3a48fbc2-1469-4877-80ca-94df6238d0db" providerId="ADAL" clId="{F7C242B6-78A0-4DDC-9805-7CADE1E3503E}" dt="2024-04-09T18:24:20.350" v="10773" actId="478"/>
          <ac:spMkLst>
            <pc:docMk/>
            <pc:sldMk cId="19585807" sldId="481"/>
            <ac:spMk id="58" creationId="{8FD7CC26-467A-C027-4191-A2AA1919E456}"/>
          </ac:spMkLst>
        </pc:spChg>
        <pc:spChg chg="del mod">
          <ac:chgData name="Michelle Strang" userId="3a48fbc2-1469-4877-80ca-94df6238d0db" providerId="ADAL" clId="{F7C242B6-78A0-4DDC-9805-7CADE1E3503E}" dt="2024-04-09T18:24:30.858" v="10783" actId="478"/>
          <ac:spMkLst>
            <pc:docMk/>
            <pc:sldMk cId="19585807" sldId="481"/>
            <ac:spMk id="59" creationId="{28618607-BEF4-878C-FD52-D6BB0FE5297D}"/>
          </ac:spMkLst>
        </pc:spChg>
        <pc:spChg chg="del mod">
          <ac:chgData name="Michelle Strang" userId="3a48fbc2-1469-4877-80ca-94df6238d0db" providerId="ADAL" clId="{F7C242B6-78A0-4DDC-9805-7CADE1E3503E}" dt="2024-04-09T18:24:35.121" v="10788" actId="478"/>
          <ac:spMkLst>
            <pc:docMk/>
            <pc:sldMk cId="19585807" sldId="481"/>
            <ac:spMk id="62" creationId="{93CF4731-15DB-529E-2CAC-07E160E60776}"/>
          </ac:spMkLst>
        </pc:spChg>
        <pc:graphicFrameChg chg="add mod modGraphic">
          <ac:chgData name="Michelle Strang" userId="3a48fbc2-1469-4877-80ca-94df6238d0db" providerId="ADAL" clId="{F7C242B6-78A0-4DDC-9805-7CADE1E3503E}" dt="2024-04-09T18:41:17.767" v="11040"/>
          <ac:graphicFrameMkLst>
            <pc:docMk/>
            <pc:sldMk cId="19585807" sldId="481"/>
            <ac:graphicFrameMk id="2" creationId="{7CE2F5F5-0698-520E-0C7F-793C723BA673}"/>
          </ac:graphicFrameMkLst>
        </pc:graphicFrameChg>
        <pc:picChg chg="del">
          <ac:chgData name="Michelle Strang" userId="3a48fbc2-1469-4877-80ca-94df6238d0db" providerId="ADAL" clId="{F7C242B6-78A0-4DDC-9805-7CADE1E3503E}" dt="2024-04-09T18:22:51.401" v="10717" actId="478"/>
          <ac:picMkLst>
            <pc:docMk/>
            <pc:sldMk cId="19585807" sldId="481"/>
            <ac:picMk id="38" creationId="{430BC8E3-F44B-F2FD-7499-FA0BB8CAF738}"/>
          </ac:picMkLst>
        </pc:picChg>
        <pc:picChg chg="del">
          <ac:chgData name="Michelle Strang" userId="3a48fbc2-1469-4877-80ca-94df6238d0db" providerId="ADAL" clId="{F7C242B6-78A0-4DDC-9805-7CADE1E3503E}" dt="2024-04-09T18:22:49.854" v="10715" actId="478"/>
          <ac:picMkLst>
            <pc:docMk/>
            <pc:sldMk cId="19585807" sldId="481"/>
            <ac:picMk id="42" creationId="{56C2FF01-C590-B7BE-D3C0-D3B645FAC993}"/>
          </ac:picMkLst>
        </pc:picChg>
        <pc:picChg chg="del">
          <ac:chgData name="Michelle Strang" userId="3a48fbc2-1469-4877-80ca-94df6238d0db" providerId="ADAL" clId="{F7C242B6-78A0-4DDC-9805-7CADE1E3503E}" dt="2024-04-09T18:22:50.671" v="10716" actId="478"/>
          <ac:picMkLst>
            <pc:docMk/>
            <pc:sldMk cId="19585807" sldId="481"/>
            <ac:picMk id="50" creationId="{0D3AB9A6-6D2D-AC95-CC9E-A5F67619454E}"/>
          </ac:picMkLst>
        </pc:picChg>
        <pc:picChg chg="del">
          <ac:chgData name="Michelle Strang" userId="3a48fbc2-1469-4877-80ca-94df6238d0db" providerId="ADAL" clId="{F7C242B6-78A0-4DDC-9805-7CADE1E3503E}" dt="2024-04-09T18:22:45.969" v="10710" actId="478"/>
          <ac:picMkLst>
            <pc:docMk/>
            <pc:sldMk cId="19585807" sldId="481"/>
            <ac:picMk id="1026" creationId="{D3D47F2F-D2B3-B51E-EBAC-8FE9895EF174}"/>
          </ac:picMkLst>
        </pc:picChg>
        <pc:cxnChg chg="del">
          <ac:chgData name="Michelle Strang" userId="3a48fbc2-1469-4877-80ca-94df6238d0db" providerId="ADAL" clId="{F7C242B6-78A0-4DDC-9805-7CADE1E3503E}" dt="2024-04-09T18:24:23.663" v="10776" actId="478"/>
          <ac:cxnSpMkLst>
            <pc:docMk/>
            <pc:sldMk cId="19585807" sldId="481"/>
            <ac:cxnSpMk id="18" creationId="{2679F95A-D04F-457D-BCFB-FB89AC791278}"/>
          </ac:cxnSpMkLst>
        </pc:cxnChg>
        <pc:cxnChg chg="del">
          <ac:chgData name="Michelle Strang" userId="3a48fbc2-1469-4877-80ca-94df6238d0db" providerId="ADAL" clId="{F7C242B6-78A0-4DDC-9805-7CADE1E3503E}" dt="2024-04-09T18:24:24.749" v="10777" actId="478"/>
          <ac:cxnSpMkLst>
            <pc:docMk/>
            <pc:sldMk cId="19585807" sldId="481"/>
            <ac:cxnSpMk id="20" creationId="{BFF94531-0A72-4114-9F89-109A4826C00F}"/>
          </ac:cxnSpMkLst>
        </pc:cxnChg>
        <pc:cxnChg chg="del">
          <ac:chgData name="Michelle Strang" userId="3a48fbc2-1469-4877-80ca-94df6238d0db" providerId="ADAL" clId="{F7C242B6-78A0-4DDC-9805-7CADE1E3503E}" dt="2024-04-09T18:24:33.358" v="10786" actId="478"/>
          <ac:cxnSpMkLst>
            <pc:docMk/>
            <pc:sldMk cId="19585807" sldId="481"/>
            <ac:cxnSpMk id="21" creationId="{CF1E4DEF-5B35-D78D-9B68-BD38ECE23555}"/>
          </ac:cxnSpMkLst>
        </pc:cxnChg>
        <pc:cxnChg chg="del">
          <ac:chgData name="Michelle Strang" userId="3a48fbc2-1469-4877-80ca-94df6238d0db" providerId="ADAL" clId="{F7C242B6-78A0-4DDC-9805-7CADE1E3503E}" dt="2024-04-09T18:24:32.259" v="10785" actId="478"/>
          <ac:cxnSpMkLst>
            <pc:docMk/>
            <pc:sldMk cId="19585807" sldId="481"/>
            <ac:cxnSpMk id="23" creationId="{E2B0D57F-BF00-4134-9290-BD3DB123276D}"/>
          </ac:cxnSpMkLst>
        </pc:cxnChg>
        <pc:cxnChg chg="del">
          <ac:chgData name="Michelle Strang" userId="3a48fbc2-1469-4877-80ca-94df6238d0db" providerId="ADAL" clId="{F7C242B6-78A0-4DDC-9805-7CADE1E3503E}" dt="2024-04-09T18:24:31.474" v="10784" actId="478"/>
          <ac:cxnSpMkLst>
            <pc:docMk/>
            <pc:sldMk cId="19585807" sldId="481"/>
            <ac:cxnSpMk id="28" creationId="{250779A6-4698-4585-A016-94A12463F7EE}"/>
          </ac:cxnSpMkLst>
        </pc:cxnChg>
        <pc:cxnChg chg="del">
          <ac:chgData name="Michelle Strang" userId="3a48fbc2-1469-4877-80ca-94df6238d0db" providerId="ADAL" clId="{F7C242B6-78A0-4DDC-9805-7CADE1E3503E}" dt="2024-04-09T18:24:35.837" v="10789" actId="478"/>
          <ac:cxnSpMkLst>
            <pc:docMk/>
            <pc:sldMk cId="19585807" sldId="481"/>
            <ac:cxnSpMk id="30" creationId="{49E056FB-0A83-41E5-B45E-7A15FDEDF2BF}"/>
          </ac:cxnSpMkLst>
        </pc:cxnChg>
        <pc:cxnChg chg="del">
          <ac:chgData name="Michelle Strang" userId="3a48fbc2-1469-4877-80ca-94df6238d0db" providerId="ADAL" clId="{F7C242B6-78A0-4DDC-9805-7CADE1E3503E}" dt="2024-04-09T18:24:45.821" v="10823" actId="478"/>
          <ac:cxnSpMkLst>
            <pc:docMk/>
            <pc:sldMk cId="19585807" sldId="481"/>
            <ac:cxnSpMk id="33" creationId="{31DD3DBB-1FE7-4A1E-80CC-5B4251EE0E7A}"/>
          </ac:cxnSpMkLst>
        </pc:cxnChg>
        <pc:cxnChg chg="del">
          <ac:chgData name="Michelle Strang" userId="3a48fbc2-1469-4877-80ca-94df6238d0db" providerId="ADAL" clId="{F7C242B6-78A0-4DDC-9805-7CADE1E3503E}" dt="2024-04-09T18:24:46.712" v="10824" actId="478"/>
          <ac:cxnSpMkLst>
            <pc:docMk/>
            <pc:sldMk cId="19585807" sldId="481"/>
            <ac:cxnSpMk id="35" creationId="{75C6780B-D97E-452A-9775-02EFE78D8EA4}"/>
          </ac:cxnSpMkLst>
        </pc:cxnChg>
      </pc:sldChg>
      <pc:sldChg chg="addSp delSp modSp add mod">
        <pc:chgData name="Michelle Strang" userId="3a48fbc2-1469-4877-80ca-94df6238d0db" providerId="ADAL" clId="{F7C242B6-78A0-4DDC-9805-7CADE1E3503E}" dt="2024-04-09T18:46:57.424" v="11123"/>
        <pc:sldMkLst>
          <pc:docMk/>
          <pc:sldMk cId="1791996253" sldId="482"/>
        </pc:sldMkLst>
        <pc:spChg chg="mod">
          <ac:chgData name="Michelle Strang" userId="3a48fbc2-1469-4877-80ca-94df6238d0db" providerId="ADAL" clId="{F7C242B6-78A0-4DDC-9805-7CADE1E3503E}" dt="2024-04-09T18:41:24.421" v="11041"/>
          <ac:spMkLst>
            <pc:docMk/>
            <pc:sldMk cId="1791996253" sldId="482"/>
            <ac:spMk id="13" creationId="{E65F5300-EC11-4B7D-AF8B-B664F54E284E}"/>
          </ac:spMkLst>
        </pc:spChg>
        <pc:graphicFrameChg chg="del">
          <ac:chgData name="Michelle Strang" userId="3a48fbc2-1469-4877-80ca-94df6238d0db" providerId="ADAL" clId="{F7C242B6-78A0-4DDC-9805-7CADE1E3503E}" dt="2024-04-09T18:37:22.180" v="11018" actId="478"/>
          <ac:graphicFrameMkLst>
            <pc:docMk/>
            <pc:sldMk cId="1791996253" sldId="482"/>
            <ac:graphicFrameMk id="2" creationId="{7CE2F5F5-0698-520E-0C7F-793C723BA673}"/>
          </ac:graphicFrameMkLst>
        </pc:graphicFrameChg>
        <pc:graphicFrameChg chg="add del mod modGraphic">
          <ac:chgData name="Michelle Strang" userId="3a48fbc2-1469-4877-80ca-94df6238d0db" providerId="ADAL" clId="{F7C242B6-78A0-4DDC-9805-7CADE1E3503E}" dt="2024-04-09T18:42:52.155" v="11054" actId="478"/>
          <ac:graphicFrameMkLst>
            <pc:docMk/>
            <pc:sldMk cId="1791996253" sldId="482"/>
            <ac:graphicFrameMk id="4" creationId="{43F69346-7B7D-9B99-8A6E-F219ED5DABDF}"/>
          </ac:graphicFrameMkLst>
        </pc:graphicFrameChg>
        <pc:graphicFrameChg chg="add mod modGraphic">
          <ac:chgData name="Michelle Strang" userId="3a48fbc2-1469-4877-80ca-94df6238d0db" providerId="ADAL" clId="{F7C242B6-78A0-4DDC-9805-7CADE1E3503E}" dt="2024-04-09T18:46:57.424" v="11123"/>
          <ac:graphicFrameMkLst>
            <pc:docMk/>
            <pc:sldMk cId="1791996253" sldId="482"/>
            <ac:graphicFrameMk id="5" creationId="{EE1A626E-21FA-7656-EE13-A629F535D737}"/>
          </ac:graphicFrameMkLst>
        </pc:graphicFrameChg>
      </pc:sldChg>
      <pc:sldChg chg="add">
        <pc:chgData name="Michelle Strang" userId="3a48fbc2-1469-4877-80ca-94df6238d0db" providerId="ADAL" clId="{F7C242B6-78A0-4DDC-9805-7CADE1E3503E}" dt="2024-04-09T18:42:44.742" v="11053" actId="2890"/>
        <pc:sldMkLst>
          <pc:docMk/>
          <pc:sldMk cId="2988959790" sldId="483"/>
        </pc:sldMkLst>
      </pc:sldChg>
    </pc:docChg>
  </pc:docChgLst>
  <pc:docChgLst>
    <pc:chgData name="Michelle Strang" userId="3a48fbc2-1469-4877-80ca-94df6238d0db" providerId="ADAL" clId="{90FE4D2D-F280-448A-BE49-F7F7AEF6C3B0}"/>
    <pc:docChg chg="delSld modSld">
      <pc:chgData name="Michelle Strang" userId="3a48fbc2-1469-4877-80ca-94df6238d0db" providerId="ADAL" clId="{90FE4D2D-F280-448A-BE49-F7F7AEF6C3B0}" dt="2024-04-09T20:44:53.774" v="215" actId="14100"/>
      <pc:docMkLst>
        <pc:docMk/>
      </pc:docMkLst>
      <pc:sldChg chg="del">
        <pc:chgData name="Michelle Strang" userId="3a48fbc2-1469-4877-80ca-94df6238d0db" providerId="ADAL" clId="{90FE4D2D-F280-448A-BE49-F7F7AEF6C3B0}" dt="2024-04-09T20:32:32.077" v="0" actId="47"/>
        <pc:sldMkLst>
          <pc:docMk/>
          <pc:sldMk cId="98490644" sldId="459"/>
        </pc:sldMkLst>
      </pc:sldChg>
      <pc:sldChg chg="modSp mod">
        <pc:chgData name="Michelle Strang" userId="3a48fbc2-1469-4877-80ca-94df6238d0db" providerId="ADAL" clId="{90FE4D2D-F280-448A-BE49-F7F7AEF6C3B0}" dt="2024-04-09T20:33:31.189" v="57" actId="20577"/>
        <pc:sldMkLst>
          <pc:docMk/>
          <pc:sldMk cId="900728941" sldId="462"/>
        </pc:sldMkLst>
        <pc:spChg chg="mod">
          <ac:chgData name="Michelle Strang" userId="3a48fbc2-1469-4877-80ca-94df6238d0db" providerId="ADAL" clId="{90FE4D2D-F280-448A-BE49-F7F7AEF6C3B0}" dt="2024-04-09T20:33:31.189" v="57" actId="20577"/>
          <ac:spMkLst>
            <pc:docMk/>
            <pc:sldMk cId="900728941" sldId="462"/>
            <ac:spMk id="3" creationId="{F955B1E9-879B-9019-2B85-EEF57A921DCC}"/>
          </ac:spMkLst>
        </pc:spChg>
      </pc:sldChg>
      <pc:sldChg chg="modSp mod">
        <pc:chgData name="Michelle Strang" userId="3a48fbc2-1469-4877-80ca-94df6238d0db" providerId="ADAL" clId="{90FE4D2D-F280-448A-BE49-F7F7AEF6C3B0}" dt="2024-04-09T20:36:29.687" v="118" actId="20577"/>
        <pc:sldMkLst>
          <pc:docMk/>
          <pc:sldMk cId="3081174869" sldId="475"/>
        </pc:sldMkLst>
        <pc:spChg chg="mod">
          <ac:chgData name="Michelle Strang" userId="3a48fbc2-1469-4877-80ca-94df6238d0db" providerId="ADAL" clId="{90FE4D2D-F280-448A-BE49-F7F7AEF6C3B0}" dt="2024-04-09T20:36:29.687" v="118" actId="20577"/>
          <ac:spMkLst>
            <pc:docMk/>
            <pc:sldMk cId="3081174869" sldId="475"/>
            <ac:spMk id="3" creationId="{2BAE3872-7BBA-40D7-7837-9CE03331193B}"/>
          </ac:spMkLst>
        </pc:spChg>
      </pc:sldChg>
      <pc:sldChg chg="delSp modSp del mod">
        <pc:chgData name="Michelle Strang" userId="3a48fbc2-1469-4877-80ca-94df6238d0db" providerId="ADAL" clId="{90FE4D2D-F280-448A-BE49-F7F7AEF6C3B0}" dt="2024-04-09T20:40:54.419" v="170" actId="47"/>
        <pc:sldMkLst>
          <pc:docMk/>
          <pc:sldMk cId="4115257105" sldId="480"/>
        </pc:sldMkLst>
        <pc:spChg chg="del mod">
          <ac:chgData name="Michelle Strang" userId="3a48fbc2-1469-4877-80ca-94df6238d0db" providerId="ADAL" clId="{90FE4D2D-F280-448A-BE49-F7F7AEF6C3B0}" dt="2024-04-09T20:40:18.925" v="158"/>
          <ac:spMkLst>
            <pc:docMk/>
            <pc:sldMk cId="4115257105" sldId="480"/>
            <ac:spMk id="32" creationId="{158CA770-DD36-48FC-8C83-6DAEDC1512F8}"/>
          </ac:spMkLst>
        </pc:spChg>
        <pc:spChg chg="del mod">
          <ac:chgData name="Michelle Strang" userId="3a48fbc2-1469-4877-80ca-94df6238d0db" providerId="ADAL" clId="{90FE4D2D-F280-448A-BE49-F7F7AEF6C3B0}" dt="2024-04-09T20:40:39.251" v="165"/>
          <ac:spMkLst>
            <pc:docMk/>
            <pc:sldMk cId="4115257105" sldId="480"/>
            <ac:spMk id="34" creationId="{C9482818-5B9F-451C-B544-2A575FFEBF0B}"/>
          </ac:spMkLst>
        </pc:spChg>
        <pc:spChg chg="del mod">
          <ac:chgData name="Michelle Strang" userId="3a48fbc2-1469-4877-80ca-94df6238d0db" providerId="ADAL" clId="{90FE4D2D-F280-448A-BE49-F7F7AEF6C3B0}" dt="2024-04-09T20:39:36.033" v="145"/>
          <ac:spMkLst>
            <pc:docMk/>
            <pc:sldMk cId="4115257105" sldId="480"/>
            <ac:spMk id="59" creationId="{28618607-BEF4-878C-FD52-D6BB0FE5297D}"/>
          </ac:spMkLst>
        </pc:spChg>
        <pc:spChg chg="del mod">
          <ac:chgData name="Michelle Strang" userId="3a48fbc2-1469-4877-80ca-94df6238d0db" providerId="ADAL" clId="{90FE4D2D-F280-448A-BE49-F7F7AEF6C3B0}" dt="2024-04-09T20:39:46.523" v="149"/>
          <ac:spMkLst>
            <pc:docMk/>
            <pc:sldMk cId="4115257105" sldId="480"/>
            <ac:spMk id="62" creationId="{93CF4731-15DB-529E-2CAC-07E160E60776}"/>
          </ac:spMkLst>
        </pc:spChg>
      </pc:sldChg>
      <pc:sldChg chg="modSp mod">
        <pc:chgData name="Michelle Strang" userId="3a48fbc2-1469-4877-80ca-94df6238d0db" providerId="ADAL" clId="{90FE4D2D-F280-448A-BE49-F7F7AEF6C3B0}" dt="2024-04-09T20:44:53.774" v="215" actId="14100"/>
        <pc:sldMkLst>
          <pc:docMk/>
          <pc:sldMk cId="1791996253" sldId="482"/>
        </pc:sldMkLst>
        <pc:spChg chg="mod">
          <ac:chgData name="Michelle Strang" userId="3a48fbc2-1469-4877-80ca-94df6238d0db" providerId="ADAL" clId="{90FE4D2D-F280-448A-BE49-F7F7AEF6C3B0}" dt="2024-04-09T20:44:53.774" v="215" actId="14100"/>
          <ac:spMkLst>
            <pc:docMk/>
            <pc:sldMk cId="1791996253" sldId="482"/>
            <ac:spMk id="13" creationId="{E65F5300-EC11-4B7D-AF8B-B664F54E284E}"/>
          </ac:spMkLst>
        </pc:spChg>
        <pc:graphicFrameChg chg="mod modGraphic">
          <ac:chgData name="Michelle Strang" userId="3a48fbc2-1469-4877-80ca-94df6238d0db" providerId="ADAL" clId="{90FE4D2D-F280-448A-BE49-F7F7AEF6C3B0}" dt="2024-04-09T20:40:50.059" v="169" actId="20577"/>
          <ac:graphicFrameMkLst>
            <pc:docMk/>
            <pc:sldMk cId="1791996253" sldId="482"/>
            <ac:graphicFrameMk id="5" creationId="{EE1A626E-21FA-7656-EE13-A629F535D737}"/>
          </ac:graphicFrameMkLst>
        </pc:graphicFrameChg>
      </pc:sldChg>
      <pc:sldChg chg="modSp del">
        <pc:chgData name="Michelle Strang" userId="3a48fbc2-1469-4877-80ca-94df6238d0db" providerId="ADAL" clId="{90FE4D2D-F280-448A-BE49-F7F7AEF6C3B0}" dt="2024-04-09T20:39:22.314" v="142" actId="47"/>
        <pc:sldMkLst>
          <pc:docMk/>
          <pc:sldMk cId="2988959790" sldId="483"/>
        </pc:sldMkLst>
        <pc:graphicFrameChg chg="mod">
          <ac:chgData name="Michelle Strang" userId="3a48fbc2-1469-4877-80ca-94df6238d0db" providerId="ADAL" clId="{90FE4D2D-F280-448A-BE49-F7F7AEF6C3B0}" dt="2024-04-09T20:38:25.988" v="136"/>
          <ac:graphicFrameMkLst>
            <pc:docMk/>
            <pc:sldMk cId="2988959790" sldId="483"/>
            <ac:graphicFrameMk id="4" creationId="{43F69346-7B7D-9B99-8A6E-F219ED5DABDF}"/>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47882E-F1A5-4781-92B0-E113B1DFCA57}" type="doc">
      <dgm:prSet loTypeId="urn:microsoft.com/office/officeart/2005/8/layout/radial4" loCatId="relationship" qsTypeId="urn:microsoft.com/office/officeart/2005/8/quickstyle/simple1" qsCatId="simple" csTypeId="urn:microsoft.com/office/officeart/2005/8/colors/accent6_5" csCatId="accent6" phldr="1"/>
      <dgm:spPr/>
      <dgm:t>
        <a:bodyPr/>
        <a:lstStyle/>
        <a:p>
          <a:endParaRPr lang="en-US"/>
        </a:p>
      </dgm:t>
    </dgm:pt>
    <dgm:pt modelId="{9472644B-D74F-458D-B12F-E31E3593770F}">
      <dgm:prSet phldrT="[Text]" custT="1"/>
      <dgm:spPr>
        <a:solidFill>
          <a:srgbClr val="422566"/>
        </a:solidFill>
      </dgm:spPr>
      <dgm:t>
        <a:bodyPr/>
        <a:lstStyle/>
        <a:p>
          <a:pPr>
            <a:spcAft>
              <a:spcPct val="35000"/>
            </a:spcAft>
          </a:pPr>
          <a:r>
            <a:rPr lang="en-US" sz="1800" dirty="0"/>
            <a:t>Navigating the RDN-NDTR Team</a:t>
          </a:r>
        </a:p>
      </dgm:t>
    </dgm:pt>
    <dgm:pt modelId="{1395E4CE-5968-4E1F-8CFB-34C6E2A4886B}" type="parTrans" cxnId="{A01DC894-FDE0-49EA-9A08-83F9201B45CE}">
      <dgm:prSet/>
      <dgm:spPr/>
      <dgm:t>
        <a:bodyPr/>
        <a:lstStyle/>
        <a:p>
          <a:endParaRPr lang="en-US"/>
        </a:p>
      </dgm:t>
    </dgm:pt>
    <dgm:pt modelId="{9CF5B52E-642F-430D-A608-EA80E54280F5}" type="sibTrans" cxnId="{A01DC894-FDE0-49EA-9A08-83F9201B45CE}">
      <dgm:prSet/>
      <dgm:spPr/>
      <dgm:t>
        <a:bodyPr/>
        <a:lstStyle/>
        <a:p>
          <a:endParaRPr lang="en-US"/>
        </a:p>
      </dgm:t>
    </dgm:pt>
    <dgm:pt modelId="{C2A31604-3728-416C-A055-C16DCD477877}">
      <dgm:prSet phldrT="[Text]" custT="1"/>
      <dgm:spPr>
        <a:solidFill>
          <a:srgbClr val="95006C"/>
        </a:solidFill>
      </dgm:spPr>
      <dgm:t>
        <a:bodyPr/>
        <a:lstStyle/>
        <a:p>
          <a:r>
            <a:rPr lang="en-US" sz="1800" dirty="0"/>
            <a:t>What is the process for cosigning?</a:t>
          </a:r>
        </a:p>
      </dgm:t>
    </dgm:pt>
    <dgm:pt modelId="{3B6C2866-155E-4682-A925-B8AA67410F84}" type="parTrans" cxnId="{E8F12C87-F8BE-4836-B58E-3AC92B66E4A8}">
      <dgm:prSet/>
      <dgm:spPr>
        <a:solidFill>
          <a:srgbClr val="95006C"/>
        </a:solidFill>
      </dgm:spPr>
      <dgm:t>
        <a:bodyPr/>
        <a:lstStyle/>
        <a:p>
          <a:endParaRPr lang="en-US"/>
        </a:p>
      </dgm:t>
    </dgm:pt>
    <dgm:pt modelId="{582FA67D-2B2A-4224-AC2A-F23450BE0BA3}" type="sibTrans" cxnId="{E8F12C87-F8BE-4836-B58E-3AC92B66E4A8}">
      <dgm:prSet/>
      <dgm:spPr/>
      <dgm:t>
        <a:bodyPr/>
        <a:lstStyle/>
        <a:p>
          <a:endParaRPr lang="en-US"/>
        </a:p>
      </dgm:t>
    </dgm:pt>
    <dgm:pt modelId="{B9FFB387-0DA0-4B00-BED3-5DD175176488}">
      <dgm:prSet custT="1"/>
      <dgm:spPr>
        <a:solidFill>
          <a:schemeClr val="accent3">
            <a:alpha val="90000"/>
          </a:schemeClr>
        </a:solidFill>
      </dgm:spPr>
      <dgm:t>
        <a:bodyPr/>
        <a:lstStyle/>
        <a:p>
          <a:r>
            <a:rPr lang="en-US" sz="1800" dirty="0"/>
            <a:t>Which activities can be performed autonomously?</a:t>
          </a:r>
        </a:p>
      </dgm:t>
    </dgm:pt>
    <dgm:pt modelId="{CAD492E1-F916-47A3-BF24-84168E4BDF8D}" type="parTrans" cxnId="{CE857C84-2D27-4730-8EE8-F166C6740752}">
      <dgm:prSet/>
      <dgm:spPr>
        <a:solidFill>
          <a:schemeClr val="accent3"/>
        </a:solidFill>
      </dgm:spPr>
      <dgm:t>
        <a:bodyPr/>
        <a:lstStyle/>
        <a:p>
          <a:endParaRPr lang="en-US"/>
        </a:p>
      </dgm:t>
    </dgm:pt>
    <dgm:pt modelId="{1A9BB023-9C10-4FEC-845B-A27CFF96CEB1}" type="sibTrans" cxnId="{CE857C84-2D27-4730-8EE8-F166C6740752}">
      <dgm:prSet/>
      <dgm:spPr/>
      <dgm:t>
        <a:bodyPr/>
        <a:lstStyle/>
        <a:p>
          <a:endParaRPr lang="en-US"/>
        </a:p>
      </dgm:t>
    </dgm:pt>
    <dgm:pt modelId="{4165797C-0468-44A2-9159-F0F7E2078D49}">
      <dgm:prSet phldrT="[Text]" custT="1"/>
      <dgm:spPr>
        <a:solidFill>
          <a:srgbClr val="39683E"/>
        </a:solidFill>
      </dgm:spPr>
      <dgm:t>
        <a:bodyPr/>
        <a:lstStyle/>
        <a:p>
          <a:r>
            <a:rPr lang="en-US" sz="1800" dirty="0"/>
            <a:t>Which activities need supervision?</a:t>
          </a:r>
        </a:p>
      </dgm:t>
    </dgm:pt>
    <dgm:pt modelId="{14BE772D-779C-4302-8357-22D256E9F7E1}" type="parTrans" cxnId="{4B32BAEF-0EB2-42C9-A0AA-41A797B531E0}">
      <dgm:prSet/>
      <dgm:spPr>
        <a:solidFill>
          <a:schemeClr val="accent1"/>
        </a:solidFill>
      </dgm:spPr>
      <dgm:t>
        <a:bodyPr/>
        <a:lstStyle/>
        <a:p>
          <a:endParaRPr lang="en-US"/>
        </a:p>
      </dgm:t>
    </dgm:pt>
    <dgm:pt modelId="{7BD50FF7-54F3-4D75-87D4-21633E87121C}" type="sibTrans" cxnId="{4B32BAEF-0EB2-42C9-A0AA-41A797B531E0}">
      <dgm:prSet/>
      <dgm:spPr/>
      <dgm:t>
        <a:bodyPr/>
        <a:lstStyle/>
        <a:p>
          <a:endParaRPr lang="en-US"/>
        </a:p>
      </dgm:t>
    </dgm:pt>
    <dgm:pt modelId="{F2F2180D-4630-4192-A580-ECCF9EEAA1B8}" type="pres">
      <dgm:prSet presAssocID="{9447882E-F1A5-4781-92B0-E113B1DFCA57}" presName="cycle" presStyleCnt="0">
        <dgm:presLayoutVars>
          <dgm:chMax val="1"/>
          <dgm:dir/>
          <dgm:animLvl val="ctr"/>
          <dgm:resizeHandles val="exact"/>
        </dgm:presLayoutVars>
      </dgm:prSet>
      <dgm:spPr/>
    </dgm:pt>
    <dgm:pt modelId="{93CA6E03-8F96-4294-BEF9-076E22CA3AFB}" type="pres">
      <dgm:prSet presAssocID="{9472644B-D74F-458D-B12F-E31E3593770F}" presName="centerShape" presStyleLbl="node0" presStyleIdx="0" presStyleCnt="1" custScaleX="113868" custLinFactNeighborX="1251" custLinFactNeighborY="-357"/>
      <dgm:spPr/>
    </dgm:pt>
    <dgm:pt modelId="{00EDD1C7-B1B5-4951-ACD1-6984B563BE0D}" type="pres">
      <dgm:prSet presAssocID="{CAD492E1-F916-47A3-BF24-84168E4BDF8D}" presName="parTrans" presStyleLbl="bgSibTrans2D1" presStyleIdx="0" presStyleCnt="3" custAng="10611443" custScaleX="47110" custLinFactNeighborX="49336" custLinFactNeighborY="-7519"/>
      <dgm:spPr/>
    </dgm:pt>
    <dgm:pt modelId="{5D54E007-634A-4EE9-9D54-5F350AA3DC05}" type="pres">
      <dgm:prSet presAssocID="{B9FFB387-0DA0-4B00-BED3-5DD175176488}" presName="node" presStyleLbl="node1" presStyleIdx="0" presStyleCnt="3" custScaleX="112171" custRadScaleRad="99288" custRadScaleInc="-2139">
        <dgm:presLayoutVars>
          <dgm:bulletEnabled val="1"/>
        </dgm:presLayoutVars>
      </dgm:prSet>
      <dgm:spPr/>
    </dgm:pt>
    <dgm:pt modelId="{9F57EC21-C6F4-455B-A06B-2F4A1E4DD813}" type="pres">
      <dgm:prSet presAssocID="{14BE772D-779C-4302-8357-22D256E9F7E1}" presName="parTrans" presStyleLbl="bgSibTrans2D1" presStyleIdx="1" presStyleCnt="3" custAng="10896707" custScaleX="38159" custLinFactNeighborX="2407" custLinFactNeighborY="66106"/>
      <dgm:spPr/>
    </dgm:pt>
    <dgm:pt modelId="{60EA84DB-4DA1-4AF8-818E-8BCD949C0463}" type="pres">
      <dgm:prSet presAssocID="{4165797C-0468-44A2-9159-F0F7E2078D49}" presName="node" presStyleLbl="node1" presStyleIdx="1" presStyleCnt="3" custScaleX="114279">
        <dgm:presLayoutVars>
          <dgm:bulletEnabled val="1"/>
        </dgm:presLayoutVars>
      </dgm:prSet>
      <dgm:spPr/>
    </dgm:pt>
    <dgm:pt modelId="{7A450428-26B5-44DE-B205-C2315D53D5A8}" type="pres">
      <dgm:prSet presAssocID="{3B6C2866-155E-4682-A925-B8AA67410F84}" presName="parTrans" presStyleLbl="bgSibTrans2D1" presStyleIdx="2" presStyleCnt="3" custAng="5026988" custFlipHor="1" custScaleX="41392" custLinFactNeighborX="-48507" custLinFactNeighborY="-18871"/>
      <dgm:spPr/>
    </dgm:pt>
    <dgm:pt modelId="{556AD713-5F83-467C-8FE8-67FB7186907C}" type="pres">
      <dgm:prSet presAssocID="{C2A31604-3728-416C-A055-C16DCD477877}" presName="node" presStyleLbl="node1" presStyleIdx="2" presStyleCnt="3" custScaleX="110926">
        <dgm:presLayoutVars>
          <dgm:bulletEnabled val="1"/>
        </dgm:presLayoutVars>
      </dgm:prSet>
      <dgm:spPr/>
    </dgm:pt>
  </dgm:ptLst>
  <dgm:cxnLst>
    <dgm:cxn modelId="{B93DDE69-4622-4E9F-A152-BB11EAF7E9A5}" type="presOf" srcId="{4165797C-0468-44A2-9159-F0F7E2078D49}" destId="{60EA84DB-4DA1-4AF8-818E-8BCD949C0463}" srcOrd="0" destOrd="0" presId="urn:microsoft.com/office/officeart/2005/8/layout/radial4"/>
    <dgm:cxn modelId="{6A897475-1410-4BD3-AF48-70530653E5C6}" type="presOf" srcId="{9447882E-F1A5-4781-92B0-E113B1DFCA57}" destId="{F2F2180D-4630-4192-A580-ECCF9EEAA1B8}" srcOrd="0" destOrd="0" presId="urn:microsoft.com/office/officeart/2005/8/layout/radial4"/>
    <dgm:cxn modelId="{CE857C84-2D27-4730-8EE8-F166C6740752}" srcId="{9472644B-D74F-458D-B12F-E31E3593770F}" destId="{B9FFB387-0DA0-4B00-BED3-5DD175176488}" srcOrd="0" destOrd="0" parTransId="{CAD492E1-F916-47A3-BF24-84168E4BDF8D}" sibTransId="{1A9BB023-9C10-4FEC-845B-A27CFF96CEB1}"/>
    <dgm:cxn modelId="{E8F12C87-F8BE-4836-B58E-3AC92B66E4A8}" srcId="{9472644B-D74F-458D-B12F-E31E3593770F}" destId="{C2A31604-3728-416C-A055-C16DCD477877}" srcOrd="2" destOrd="0" parTransId="{3B6C2866-155E-4682-A925-B8AA67410F84}" sibTransId="{582FA67D-2B2A-4224-AC2A-F23450BE0BA3}"/>
    <dgm:cxn modelId="{5E0DB787-9810-4301-BC06-D237219C3EB3}" type="presOf" srcId="{C2A31604-3728-416C-A055-C16DCD477877}" destId="{556AD713-5F83-467C-8FE8-67FB7186907C}" srcOrd="0" destOrd="0" presId="urn:microsoft.com/office/officeart/2005/8/layout/radial4"/>
    <dgm:cxn modelId="{A01DC894-FDE0-49EA-9A08-83F9201B45CE}" srcId="{9447882E-F1A5-4781-92B0-E113B1DFCA57}" destId="{9472644B-D74F-458D-B12F-E31E3593770F}" srcOrd="0" destOrd="0" parTransId="{1395E4CE-5968-4E1F-8CFB-34C6E2A4886B}" sibTransId="{9CF5B52E-642F-430D-A608-EA80E54280F5}"/>
    <dgm:cxn modelId="{E9C83EB2-FF99-49BF-B6C1-7FC2E876C02F}" type="presOf" srcId="{9472644B-D74F-458D-B12F-E31E3593770F}" destId="{93CA6E03-8F96-4294-BEF9-076E22CA3AFB}" srcOrd="0" destOrd="0" presId="urn:microsoft.com/office/officeart/2005/8/layout/radial4"/>
    <dgm:cxn modelId="{76D361BC-ADB6-426C-B744-8630D57A28C7}" type="presOf" srcId="{3B6C2866-155E-4682-A925-B8AA67410F84}" destId="{7A450428-26B5-44DE-B205-C2315D53D5A8}" srcOrd="0" destOrd="0" presId="urn:microsoft.com/office/officeart/2005/8/layout/radial4"/>
    <dgm:cxn modelId="{08C854D4-6BD7-450B-B7A5-89DA5EA52DEA}" type="presOf" srcId="{14BE772D-779C-4302-8357-22D256E9F7E1}" destId="{9F57EC21-C6F4-455B-A06B-2F4A1E4DD813}" srcOrd="0" destOrd="0" presId="urn:microsoft.com/office/officeart/2005/8/layout/radial4"/>
    <dgm:cxn modelId="{4B32BAEF-0EB2-42C9-A0AA-41A797B531E0}" srcId="{9472644B-D74F-458D-B12F-E31E3593770F}" destId="{4165797C-0468-44A2-9159-F0F7E2078D49}" srcOrd="1" destOrd="0" parTransId="{14BE772D-779C-4302-8357-22D256E9F7E1}" sibTransId="{7BD50FF7-54F3-4D75-87D4-21633E87121C}"/>
    <dgm:cxn modelId="{A0853EF8-7E09-4897-8B02-BB90B1E0D10B}" type="presOf" srcId="{CAD492E1-F916-47A3-BF24-84168E4BDF8D}" destId="{00EDD1C7-B1B5-4951-ACD1-6984B563BE0D}" srcOrd="0" destOrd="0" presId="urn:microsoft.com/office/officeart/2005/8/layout/radial4"/>
    <dgm:cxn modelId="{C96C7DFD-4733-42F1-93D1-A133A6110009}" type="presOf" srcId="{B9FFB387-0DA0-4B00-BED3-5DD175176488}" destId="{5D54E007-634A-4EE9-9D54-5F350AA3DC05}" srcOrd="0" destOrd="0" presId="urn:microsoft.com/office/officeart/2005/8/layout/radial4"/>
    <dgm:cxn modelId="{82E42425-1F74-4A74-B3BF-C083CE3FA190}" type="presParOf" srcId="{F2F2180D-4630-4192-A580-ECCF9EEAA1B8}" destId="{93CA6E03-8F96-4294-BEF9-076E22CA3AFB}" srcOrd="0" destOrd="0" presId="urn:microsoft.com/office/officeart/2005/8/layout/radial4"/>
    <dgm:cxn modelId="{9F8147B3-F073-4A50-9ED0-E1066F735640}" type="presParOf" srcId="{F2F2180D-4630-4192-A580-ECCF9EEAA1B8}" destId="{00EDD1C7-B1B5-4951-ACD1-6984B563BE0D}" srcOrd="1" destOrd="0" presId="urn:microsoft.com/office/officeart/2005/8/layout/radial4"/>
    <dgm:cxn modelId="{E3FCE41B-78E8-41A5-A4A4-304438025954}" type="presParOf" srcId="{F2F2180D-4630-4192-A580-ECCF9EEAA1B8}" destId="{5D54E007-634A-4EE9-9D54-5F350AA3DC05}" srcOrd="2" destOrd="0" presId="urn:microsoft.com/office/officeart/2005/8/layout/radial4"/>
    <dgm:cxn modelId="{42B75AA0-FA0D-42C2-9A2C-031803ADFA18}" type="presParOf" srcId="{F2F2180D-4630-4192-A580-ECCF9EEAA1B8}" destId="{9F57EC21-C6F4-455B-A06B-2F4A1E4DD813}" srcOrd="3" destOrd="0" presId="urn:microsoft.com/office/officeart/2005/8/layout/radial4"/>
    <dgm:cxn modelId="{6EBC89F9-E6DE-4FDC-95A6-2D7BF7A21128}" type="presParOf" srcId="{F2F2180D-4630-4192-A580-ECCF9EEAA1B8}" destId="{60EA84DB-4DA1-4AF8-818E-8BCD949C0463}" srcOrd="4" destOrd="0" presId="urn:microsoft.com/office/officeart/2005/8/layout/radial4"/>
    <dgm:cxn modelId="{6587B7D3-B7F8-45BC-90E4-9DA8C142A591}" type="presParOf" srcId="{F2F2180D-4630-4192-A580-ECCF9EEAA1B8}" destId="{7A450428-26B5-44DE-B205-C2315D53D5A8}" srcOrd="5" destOrd="0" presId="urn:microsoft.com/office/officeart/2005/8/layout/radial4"/>
    <dgm:cxn modelId="{E5F7D82F-40B2-43FE-A8A0-7D4841889C6B}" type="presParOf" srcId="{F2F2180D-4630-4192-A580-ECCF9EEAA1B8}" destId="{556AD713-5F83-467C-8FE8-67FB7186907C}" srcOrd="6" destOrd="0" presId="urn:microsoft.com/office/officeart/2005/8/layout/radial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A6E03-8F96-4294-BEF9-076E22CA3AFB}">
      <dsp:nvSpPr>
        <dsp:cNvPr id="0" name=""/>
        <dsp:cNvSpPr/>
      </dsp:nvSpPr>
      <dsp:spPr>
        <a:xfrm>
          <a:off x="1749778" y="2165073"/>
          <a:ext cx="1894586" cy="1663844"/>
        </a:xfrm>
        <a:prstGeom prst="ellipse">
          <a:avLst/>
        </a:prstGeom>
        <a:solidFill>
          <a:srgbClr val="4225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Navigating the RDN-NDTR Team</a:t>
          </a:r>
        </a:p>
      </dsp:txBody>
      <dsp:txXfrm>
        <a:off x="2027234" y="2408737"/>
        <a:ext cx="1339674" cy="1176516"/>
      </dsp:txXfrm>
    </dsp:sp>
    <dsp:sp modelId="{00EDD1C7-B1B5-4951-ACD1-6984B563BE0D}">
      <dsp:nvSpPr>
        <dsp:cNvPr id="0" name=""/>
        <dsp:cNvSpPr/>
      </dsp:nvSpPr>
      <dsp:spPr>
        <a:xfrm rot="1779332">
          <a:off x="1662918" y="1845317"/>
          <a:ext cx="602593" cy="474195"/>
        </a:xfrm>
        <a:prstGeom prst="leftArrow">
          <a:avLst>
            <a:gd name="adj1" fmla="val 60000"/>
            <a:gd name="adj2" fmla="val 50000"/>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sp>
    <dsp:sp modelId="{5D54E007-634A-4EE9-9D54-5F350AA3DC05}">
      <dsp:nvSpPr>
        <dsp:cNvPr id="0" name=""/>
        <dsp:cNvSpPr/>
      </dsp:nvSpPr>
      <dsp:spPr>
        <a:xfrm>
          <a:off x="-90971" y="1139371"/>
          <a:ext cx="1773033" cy="1264521"/>
        </a:xfrm>
        <a:prstGeom prst="roundRect">
          <a:avLst>
            <a:gd name="adj" fmla="val 10000"/>
          </a:avLst>
        </a:prstGeom>
        <a:solidFill>
          <a:schemeClr val="accent3">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Which activities can be performed autonomously?</a:t>
          </a:r>
        </a:p>
      </dsp:txBody>
      <dsp:txXfrm>
        <a:off x="-53934" y="1176408"/>
        <a:ext cx="1698959" cy="1190447"/>
      </dsp:txXfrm>
    </dsp:sp>
    <dsp:sp modelId="{9F57EC21-C6F4-455B-A06B-2F4A1E4DD813}">
      <dsp:nvSpPr>
        <dsp:cNvPr id="0" name=""/>
        <dsp:cNvSpPr/>
      </dsp:nvSpPr>
      <dsp:spPr>
        <a:xfrm rot="5410094">
          <a:off x="2436046" y="1500654"/>
          <a:ext cx="506711" cy="474195"/>
        </a:xfrm>
        <a:prstGeom prst="lef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60EA84DB-4DA1-4AF8-818E-8BCD949C0463}">
      <dsp:nvSpPr>
        <dsp:cNvPr id="0" name=""/>
        <dsp:cNvSpPr/>
      </dsp:nvSpPr>
      <dsp:spPr>
        <a:xfrm>
          <a:off x="1737536" y="128283"/>
          <a:ext cx="1806353" cy="1264521"/>
        </a:xfrm>
        <a:prstGeom prst="roundRect">
          <a:avLst>
            <a:gd name="adj" fmla="val 10000"/>
          </a:avLst>
        </a:prstGeom>
        <a:solidFill>
          <a:srgbClr val="3968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Which activities need supervision?</a:t>
          </a:r>
        </a:p>
      </dsp:txBody>
      <dsp:txXfrm>
        <a:off x="1774573" y="165320"/>
        <a:ext cx="1732279" cy="1190447"/>
      </dsp:txXfrm>
    </dsp:sp>
    <dsp:sp modelId="{7A450428-26B5-44DE-B205-C2315D53D5A8}">
      <dsp:nvSpPr>
        <dsp:cNvPr id="0" name=""/>
        <dsp:cNvSpPr/>
      </dsp:nvSpPr>
      <dsp:spPr>
        <a:xfrm rot="18702976" flipH="1">
          <a:off x="3141855" y="1749546"/>
          <a:ext cx="506163" cy="474195"/>
        </a:xfrm>
        <a:prstGeom prst="leftArrow">
          <a:avLst>
            <a:gd name="adj1" fmla="val 60000"/>
            <a:gd name="adj2" fmla="val 50000"/>
          </a:avLst>
        </a:prstGeom>
        <a:solidFill>
          <a:srgbClr val="95006C"/>
        </a:solidFill>
        <a:ln>
          <a:noFill/>
        </a:ln>
        <a:effectLst/>
      </dsp:spPr>
      <dsp:style>
        <a:lnRef idx="0">
          <a:scrgbClr r="0" g="0" b="0"/>
        </a:lnRef>
        <a:fillRef idx="1">
          <a:scrgbClr r="0" g="0" b="0"/>
        </a:fillRef>
        <a:effectRef idx="0">
          <a:scrgbClr r="0" g="0" b="0"/>
        </a:effectRef>
        <a:fontRef idx="minor">
          <a:schemeClr val="lt1"/>
        </a:fontRef>
      </dsp:style>
    </dsp:sp>
    <dsp:sp modelId="{556AD713-5F83-467C-8FE8-67FB7186907C}">
      <dsp:nvSpPr>
        <dsp:cNvPr id="0" name=""/>
        <dsp:cNvSpPr/>
      </dsp:nvSpPr>
      <dsp:spPr>
        <a:xfrm>
          <a:off x="3609204" y="1088817"/>
          <a:ext cx="1753354" cy="1264521"/>
        </a:xfrm>
        <a:prstGeom prst="roundRect">
          <a:avLst>
            <a:gd name="adj" fmla="val 10000"/>
          </a:avLst>
        </a:prstGeom>
        <a:solidFill>
          <a:srgbClr val="95006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What is the process for cosigning?</a:t>
          </a:r>
        </a:p>
      </dsp:txBody>
      <dsp:txXfrm>
        <a:off x="3646241" y="1125854"/>
        <a:ext cx="1679280" cy="1190447"/>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5/21/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5/21/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Practice Tools on Supervision and Autonomy. </a:t>
            </a:r>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a:p>
        </p:txBody>
      </p:sp>
    </p:spTree>
    <p:extLst>
      <p:ext uri="{BB962C8B-B14F-4D97-AF65-F5344CB8AC3E}">
        <p14:creationId xmlns:p14="http://schemas.microsoft.com/office/powerpoint/2010/main" val="2726704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Light" panose="020B0606030504020204" pitchFamily="34" charset="0"/>
                <a:ea typeface="Open Sans Light" panose="020B0606030504020204" pitchFamily="34" charset="0"/>
                <a:cs typeface="Open Sans Light" panose="020B0606030504020204" pitchFamily="34" charset="0"/>
              </a:rPr>
              <a:t>In clinical settings when data is entered into a medical record by “others” (</a:t>
            </a:r>
            <a:r>
              <a:rPr lang="en-US" sz="1200" dirty="0" err="1">
                <a:latin typeface="Open Sans Light" panose="020B0606030504020204" pitchFamily="34" charset="0"/>
                <a:ea typeface="Open Sans Light" panose="020B0606030504020204" pitchFamily="34" charset="0"/>
                <a:cs typeface="Open Sans Light" panose="020B0606030504020204" pitchFamily="34" charset="0"/>
              </a:rPr>
              <a:t>eg</a:t>
            </a:r>
            <a:r>
              <a:rPr lang="en-US" sz="1200" dirty="0">
                <a:latin typeface="Open Sans Light" panose="020B0606030504020204" pitchFamily="34" charset="0"/>
                <a:ea typeface="Open Sans Light" panose="020B0606030504020204" pitchFamily="34" charset="0"/>
                <a:cs typeface="Open Sans Light" panose="020B0606030504020204" pitchFamily="34" charset="0"/>
              </a:rPr>
              <a:t>, other RDNs, NDTRs, unlicensed and/or non-credentialed practitioners, or students/interns), the supervising RDN may be required to cosig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Light" panose="020B0606030504020204" pitchFamily="34" charset="0"/>
              <a:ea typeface="Open Sans Light" panose="020B0606030504020204" pitchFamily="34" charset="0"/>
              <a:cs typeface="Open Sans Light"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Light" panose="020B0606030504020204" pitchFamily="34" charset="0"/>
                <a:ea typeface="Open Sans Light" panose="020B0606030504020204" pitchFamily="34" charset="0"/>
                <a:cs typeface="Open Sans Light" panose="020B0606030504020204" pitchFamily="34" charset="0"/>
              </a:rPr>
              <a:t>This signature implies that the RDN has assigned, is responsibility for, and has approved the care provided to patients/cl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Light" panose="020B0606030504020204" pitchFamily="34" charset="0"/>
              <a:ea typeface="Open Sans Light" panose="020B0606030504020204" pitchFamily="34" charset="0"/>
              <a:cs typeface="Open Sans Light"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Light" panose="020B0606030504020204" pitchFamily="34" charset="0"/>
                <a:ea typeface="Open Sans Light" panose="020B0606030504020204" pitchFamily="34" charset="0"/>
                <a:cs typeface="Open Sans Light" panose="020B0606030504020204" pitchFamily="34" charset="0"/>
              </a:rPr>
              <a:t>The following slides provide an overview of how to determine the process for cosigning in various settings/situations and assessing scope of practice.</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628688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705236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Cosign?</a:t>
            </a:r>
          </a:p>
          <a:p>
            <a:r>
              <a:rPr lang="en-US" sz="1200" dirty="0"/>
              <a:t>What if there are notes to the documentation? </a:t>
            </a:r>
          </a:p>
          <a:p>
            <a:pPr marL="285750" indent="-285750">
              <a:buFont typeface="Arial" panose="020B0604020202020204" pitchFamily="34" charset="0"/>
              <a:buChar char="•"/>
            </a:pPr>
            <a:r>
              <a:rPr lang="en-US" sz="1200" dirty="0"/>
              <a:t>The cosigner may add to the notes entered by the student or intern but should not edit the notes. With a pending co-signature note in EHR, the preceptor may be able to have student/intern make a correction or include missing information if needed and then re-sign the note. </a:t>
            </a:r>
          </a:p>
          <a:p>
            <a:endParaRPr lang="en-US" sz="1200" dirty="0"/>
          </a:p>
          <a:p>
            <a:r>
              <a:rPr lang="en-US" sz="1200" dirty="0"/>
              <a:t>How to Sign? </a:t>
            </a:r>
          </a:p>
          <a:p>
            <a:pPr marL="285750" indent="-285750">
              <a:buFont typeface="Arial" panose="020B0604020202020204" pitchFamily="34" charset="0"/>
              <a:buChar char="•"/>
            </a:pPr>
            <a:r>
              <a:rPr lang="en-US" sz="1200" dirty="0"/>
              <a:t>Student/intern should cosign notes with first initial, last name, Student Dietitian or Dietetic Intern and university name (may be abbreviated) or as specified in procedure for EHR or paper chart. In EHR, it is common for student/intern to check “Cosign” button so that note is pending preceptor co-signature.</a:t>
            </a:r>
          </a:p>
          <a:p>
            <a:pPr marL="285750" indent="-285750">
              <a:buFont typeface="Arial" panose="020B0604020202020204" pitchFamily="34" charset="0"/>
              <a:buChar char="•"/>
            </a:pPr>
            <a:r>
              <a:rPr lang="en-US" sz="1200" dirty="0"/>
              <a:t>After reviewing and verifying the note, the preceptor/staff RDN signs note with first initial, last name and credentials, e.g., R. Doe, RDN. Both the student/intern and the RDN signatures will show.</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802442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on this slide represents when a cosign is not required and when a cosign is required. Generally speaking if an individual is not yet registered and/or licensed as applicable, that individual should always work under the clinical supervision of the RDN. </a:t>
            </a: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2723579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788011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a typeface="Open Sans Light" panose="020B0606030504020204" pitchFamily="34" charset="0"/>
                <a:cs typeface="Open Sans Light" panose="020B0606030504020204" pitchFamily="34" charset="0"/>
              </a:rPr>
              <a:t>The following are common </a:t>
            </a:r>
            <a:r>
              <a:rPr lang="en-US" sz="1200" dirty="0">
                <a:effectLst/>
                <a:ea typeface="Open Sans Light" panose="020B0606030504020204" pitchFamily="34" charset="0"/>
                <a:cs typeface="Open Sans Light" panose="020B0606030504020204" pitchFamily="34" charset="0"/>
              </a:rPr>
              <a:t>question asked by RDNs/NDTRs , particularly when working with other practitioners to deliver nutrition care and services:</a:t>
            </a:r>
          </a:p>
          <a:p>
            <a:pPr marL="342900" indent="-342900">
              <a:buAutoNum type="arabicParenR"/>
            </a:pPr>
            <a:r>
              <a:rPr lang="en-US" sz="1200" dirty="0">
                <a:ea typeface="Open Sans Light" panose="020B0606030504020204" pitchFamily="34" charset="0"/>
                <a:cs typeface="Open Sans Light" panose="020B0606030504020204" pitchFamily="34" charset="0"/>
              </a:rPr>
              <a:t>Which activities can be performed autonomously?</a:t>
            </a:r>
          </a:p>
          <a:p>
            <a:pPr marL="342900" indent="-342900">
              <a:buAutoNum type="arabicParenR"/>
            </a:pPr>
            <a:r>
              <a:rPr lang="en-US" sz="1200" dirty="0">
                <a:effectLst/>
                <a:ea typeface="Open Sans Light" panose="020B0606030504020204" pitchFamily="34" charset="0"/>
                <a:cs typeface="Open Sans Light" panose="020B0606030504020204" pitchFamily="34" charset="0"/>
              </a:rPr>
              <a:t>Which activities need supervision?</a:t>
            </a:r>
          </a:p>
          <a:p>
            <a:pPr marL="342900" indent="-342900">
              <a:buAutoNum type="arabicParenR"/>
            </a:pPr>
            <a:r>
              <a:rPr lang="en-US" sz="1200" dirty="0">
                <a:effectLst/>
                <a:ea typeface="Open Sans Light" panose="020B0606030504020204" pitchFamily="34" charset="0"/>
                <a:cs typeface="Open Sans Light" panose="020B0606030504020204" pitchFamily="34" charset="0"/>
              </a:rPr>
              <a:t>What are the requirements for cosigning? </a:t>
            </a:r>
          </a:p>
          <a:p>
            <a:r>
              <a:rPr lang="en-US" sz="1200" dirty="0">
                <a:ea typeface="Open Sans Light" panose="020B0606030504020204" pitchFamily="34" charset="0"/>
                <a:cs typeface="Open Sans Light" panose="020B0606030504020204" pitchFamily="34" charset="0"/>
              </a:rPr>
              <a:t>Determining the individual scope of practice and competence of each member of the nutrition team is required to answer these questions.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6100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erm “Individual Scope of Practice” is used consistently throughout the literature and in practice, but many practitioners don’t have a clear understanding of what their scope of practice entails.  </a:t>
            </a:r>
          </a:p>
          <a:p>
            <a:endParaRPr lang="en-US" dirty="0"/>
          </a:p>
          <a:p>
            <a:r>
              <a:rPr lang="en-US" sz="1800" dirty="0">
                <a:effectLst/>
                <a:latin typeface="Segoe UI" panose="020B0502040204020203" pitchFamily="34" charset="0"/>
              </a:rPr>
              <a:t>You can think of your individual scope of practice is a set professional tasks/activities that you are allowed to do based on what is specified in the laws, regulations, policies, standards, etc., as well as, what you are competent to do based on your current knowledge and skills. The next slide reviews the components that determine your individual scope of practice.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1043400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dividual scope of practice is the intersection point of: Revised 2024 Scope and Standards of Practice; State Laws; Education and Credentials; Federal and State </a:t>
            </a:r>
            <a:r>
              <a:rPr lang="en-US" dirty="0">
                <a:solidFill>
                  <a:srgbClr val="FF0000"/>
                </a:solidFill>
              </a:rPr>
              <a:t>Regulations and Interpretive </a:t>
            </a:r>
            <a:r>
              <a:rPr lang="en-US" dirty="0"/>
              <a:t>Guidelines; Accreditation Organizations; Organizational Policies and Procedures; and Additional Individual Training/Credentials/ Certifications. </a:t>
            </a:r>
          </a:p>
          <a:p>
            <a:endParaRPr lang="en-US" dirty="0"/>
          </a:p>
          <a:p>
            <a:r>
              <a:rPr lang="en-US" sz="1800" dirty="0">
                <a:effectLst/>
                <a:latin typeface="Segoe UI" panose="020B0502040204020203" pitchFamily="34" charset="0"/>
              </a:rPr>
              <a:t>Depending on the activity, situation and/or setting, your scope of practice may differ. For example, some states require licensure to practice and provide MNT, and policies will vary from organization to organization.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097365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While</a:t>
            </a:r>
            <a:r>
              <a:rPr lang="en-US" sz="1200" dirty="0">
                <a:latin typeface="Open Sans Light" panose="020B0606030504020204" pitchFamily="34" charset="0"/>
                <a:ea typeface="Open Sans Light" panose="020B0606030504020204" pitchFamily="34" charset="0"/>
                <a:cs typeface="Open Sans Light" panose="020B0606030504020204" pitchFamily="34" charset="0"/>
              </a:rPr>
              <a:t> the </a:t>
            </a: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NDTR must work under the supervision of the RDN when providing direct nutrition care in a clinical setting, they may work independently when providing general nutrition education and other services to healthy populations.</a:t>
            </a:r>
            <a:r>
              <a:rPr lang="en-US" sz="1200" baseline="30000" dirty="0">
                <a:solidFill>
                  <a:srgbClr val="FF0000"/>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 </a:t>
            </a:r>
          </a:p>
          <a:p>
            <a:pPr marL="0" marR="0">
              <a:spcBef>
                <a:spcPts val="0"/>
              </a:spcBef>
              <a:spcAft>
                <a:spcPts val="0"/>
              </a:spcAft>
            </a:pPr>
            <a:endParaRPr lang="en-US" sz="900" b="1"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0" marR="0">
              <a:spcBef>
                <a:spcPts val="0"/>
              </a:spcBef>
              <a:spcAft>
                <a:spcPts val="1000"/>
              </a:spcAft>
            </a:pP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When working autonomously, it is essential that th</a:t>
            </a:r>
            <a:r>
              <a:rPr lang="en-US" sz="1200" dirty="0">
                <a:latin typeface="Open Sans Light" panose="020B0606030504020204" pitchFamily="34" charset="0"/>
                <a:ea typeface="Open Sans Light" panose="020B0606030504020204" pitchFamily="34" charset="0"/>
                <a:cs typeface="Open Sans Light" panose="020B0606030504020204" pitchFamily="34" charset="0"/>
              </a:rPr>
              <a:t>e NDTR understands and adheres to </a:t>
            </a: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the Code of Ethics, which highlights the importance of recognizing one’s limits of qualifications and when appropriate, collaborate, seek counsel, and make referra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Open Sans Light" panose="020B0606030504020204" pitchFamily="34" charset="0"/>
              <a:ea typeface="Open Sans Light" panose="020B0606030504020204" pitchFamily="34" charset="0"/>
              <a:cs typeface="Open Sans Light"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The decision tree on the following slide can help assess whether, and in which </a:t>
            </a:r>
            <a:r>
              <a:rPr lang="en-US" sz="1200" dirty="0">
                <a:latin typeface="Open Sans Light" panose="020B0606030504020204" pitchFamily="34" charset="0"/>
                <a:ea typeface="Open Sans Light" panose="020B0606030504020204" pitchFamily="34" charset="0"/>
                <a:cs typeface="Open Sans Light" panose="020B0606030504020204" pitchFamily="34" charset="0"/>
              </a:rPr>
              <a:t>situations, </a:t>
            </a:r>
            <a:r>
              <a:rPr lang="en-US" sz="1200" dirty="0">
                <a:effectLst/>
                <a:latin typeface="Open Sans Light" panose="020B0606030504020204" pitchFamily="34" charset="0"/>
                <a:ea typeface="Open Sans Light" panose="020B0606030504020204" pitchFamily="34" charset="0"/>
                <a:cs typeface="Open Sans Light" panose="020B0606030504020204" pitchFamily="34" charset="0"/>
              </a:rPr>
              <a:t>an NDTR can work independently. This information is particularly important for the NDTR working as a solo practitioner without direct access to an RDN for consultation and referral.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493889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NDTR</a:t>
            </a:r>
            <a:r>
              <a:rPr lang="en-US" dirty="0"/>
              <a:t> must first ask - does this activity provide direct nutrition care to an individual. If yes, they need to determine whether the individual is otherwise healthy. If the person is, then they may be able to work autonomously with publicly available nutrition related information. If not, and the individual has identified conditions or diseases, the NDTR must work in an RDN-NDTR team. </a:t>
            </a:r>
          </a:p>
          <a:p>
            <a:endParaRPr lang="en-US" dirty="0"/>
          </a:p>
          <a:p>
            <a:r>
              <a:rPr lang="en-US" dirty="0"/>
              <a:t>If the NDTR answers no to the first question and they work at the population level, they must determine whether they are competent to perform the desired activity. If they are, the </a:t>
            </a:r>
            <a:r>
              <a:rPr lang="en-US" dirty="0" err="1"/>
              <a:t>NDTR</a:t>
            </a:r>
            <a:r>
              <a:rPr lang="en-US" dirty="0"/>
              <a:t> should review all relevant regulations, and organizational policies or procedures to determine if anything prohibits them from performing the activity. If nothing exists, they may be able to work autonomously. </a:t>
            </a:r>
          </a:p>
          <a:p>
            <a:endParaRPr lang="en-US" dirty="0"/>
          </a:p>
          <a:p>
            <a:r>
              <a:rPr lang="en-US" dirty="0"/>
              <a:t>If the NDTR identifies they are not competent, they must seek out additional training to gain competency before performing the task. If no such training exists, they must refer to another practitioner. </a:t>
            </a:r>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067968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The definition of supervision is contextual. It varies by setting, by profession, and by intent. For example, supervision may be categorized as to whether it is managerial, clinical, personal, or professional. Further, an individual’s experience in a work setting with supervision may affect their understanding of who a supervisor is and what supervision entails. </a:t>
            </a:r>
          </a:p>
          <a:p>
            <a:endParaRPr lang="en-US" dirty="0">
              <a:solidFill>
                <a:schemeClr val="tx1"/>
              </a:solidFill>
            </a:endParaRPr>
          </a:p>
          <a:p>
            <a:r>
              <a:rPr lang="en-US" dirty="0">
                <a:solidFill>
                  <a:schemeClr val="tx1"/>
                </a:solidFill>
              </a:rPr>
              <a:t>The NDTR and other professional, technical, and support staff work under the </a:t>
            </a:r>
            <a:r>
              <a:rPr lang="en-US" b="1" dirty="0">
                <a:solidFill>
                  <a:schemeClr val="tx1"/>
                </a:solidFill>
              </a:rPr>
              <a:t>clinical supervision </a:t>
            </a:r>
            <a:r>
              <a:rPr lang="en-US" dirty="0">
                <a:solidFill>
                  <a:schemeClr val="tx1"/>
                </a:solidFill>
              </a:rPr>
              <a:t>of the RDN when engaged in direct patient/client nutrition care activities in any sett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Light" panose="020B0606030504020204" pitchFamily="34" charset="0"/>
              <a:ea typeface="Open Sans Light" panose="020B0606030504020204" pitchFamily="34" charset="0"/>
              <a:cs typeface="Open Sans Light"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Light" panose="020B0606030504020204" pitchFamily="34" charset="0"/>
                <a:ea typeface="Open Sans Light" panose="020B0606030504020204" pitchFamily="34" charset="0"/>
                <a:cs typeface="Open Sans Light" panose="020B0606030504020204" pitchFamily="34" charset="0"/>
              </a:rPr>
              <a:t>The following slides provide an overview and some common examples of tasks within the Nutrition Care Process and other Workflow Elements that can be designated by the RDN, as well as details about the process and helpful resources for assessing scope of practi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Light" panose="020B0606030504020204" pitchFamily="34" charset="0"/>
              <a:ea typeface="Open Sans Light" panose="020B0606030504020204" pitchFamily="34" charset="0"/>
              <a:cs typeface="Open Sans Light" panose="020B0606030504020204" pitchFamily="34" charset="0"/>
            </a:endParaRPr>
          </a:p>
          <a:p>
            <a:pPr marL="342900" marR="0" lvl="0" indent="-342900">
              <a:spcBef>
                <a:spcPts val="0"/>
              </a:spcBef>
              <a:spcAft>
                <a:spcPts val="0"/>
              </a:spcAft>
              <a:buFont typeface="Symbol" panose="05050102010706020507" pitchFamily="18" charset="2"/>
              <a:buChar char=""/>
            </a:pPr>
            <a:r>
              <a:rPr lang="en-US" sz="1800" b="1" dirty="0">
                <a:effectLst/>
                <a:latin typeface="Calibri" panose="020F0502020204030204" pitchFamily="34" charset="0"/>
                <a:ea typeface="Times New Roman" panose="02020603050405020304" pitchFamily="18" charset="0"/>
              </a:rPr>
              <a:t>The RDN is responsible for nutrition care: </a:t>
            </a:r>
            <a:r>
              <a:rPr lang="en-US" sz="1800" dirty="0">
                <a:effectLst/>
                <a:latin typeface="Calibri" panose="020F0502020204030204" pitchFamily="34" charset="0"/>
                <a:ea typeface="Times New Roman" panose="02020603050405020304" pitchFamily="18" charset="0"/>
              </a:rPr>
              <a:t>work delegated to and completed by NDTRs and other staff, the RDN is accountable to the patient/client, employer/organization, and regulator. </a:t>
            </a:r>
            <a:endParaRPr lang="en-US" sz="18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b="1" dirty="0">
                <a:effectLst/>
                <a:latin typeface="Calibri" panose="020F0502020204030204" pitchFamily="34" charset="0"/>
                <a:ea typeface="Times New Roman" panose="02020603050405020304" pitchFamily="18" charset="0"/>
              </a:rPr>
              <a:t>Federal and state rules and regulations for health care facilities:</a:t>
            </a:r>
            <a:r>
              <a:rPr lang="en-US" sz="1800" dirty="0">
                <a:effectLst/>
                <a:latin typeface="Calibri" panose="020F0502020204030204" pitchFamily="34" charset="0"/>
                <a:ea typeface="Times New Roman" panose="02020603050405020304" pitchFamily="18" charset="0"/>
              </a:rPr>
              <a:t> the qualified dietitian must supervise the nutritional aspects of patient care and provide nutrition assessments and dietary counseling.</a:t>
            </a:r>
            <a:endParaRPr lang="en-US" sz="18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b="1" dirty="0">
                <a:effectLst/>
                <a:latin typeface="Calibri" panose="020F0502020204030204" pitchFamily="34" charset="0"/>
                <a:ea typeface="Times New Roman" panose="02020603050405020304" pitchFamily="18" charset="0"/>
              </a:rPr>
              <a:t>State dietitian/nutritionist practice acts and regulations:</a:t>
            </a:r>
            <a:r>
              <a:rPr lang="en-US" sz="1800" dirty="0">
                <a:effectLst/>
                <a:latin typeface="Calibri" panose="020F0502020204030204" pitchFamily="34" charset="0"/>
                <a:ea typeface="Times New Roman" panose="02020603050405020304" pitchFamily="18" charset="0"/>
              </a:rPr>
              <a:t> may define supervision, and if applicable, statutory scope of practice specifications for technical and other assistive staff.</a:t>
            </a:r>
            <a:endParaRPr lang="en-US" sz="18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b="1" dirty="0">
                <a:effectLst/>
                <a:latin typeface="Calibri" panose="020F0502020204030204" pitchFamily="34" charset="0"/>
                <a:ea typeface="Times New Roman" panose="02020603050405020304" pitchFamily="18" charset="0"/>
              </a:rPr>
              <a:t>NDTRs working in skilled or long-term care facilities</a:t>
            </a:r>
            <a:r>
              <a:rPr lang="en-US" sz="1800" dirty="0">
                <a:effectLst/>
                <a:latin typeface="Calibri" panose="020F0502020204030204" pitchFamily="34" charset="0"/>
                <a:ea typeface="Times New Roman" panose="02020603050405020304" pitchFamily="18" charset="0"/>
              </a:rPr>
              <a:t>: work in collaboration with the staff or consultant RDN to address a resident's diet- or nutrition-related orders, including when the physician has delegated diet order writing to the RDN.</a:t>
            </a:r>
            <a:endParaRPr lang="en-US" sz="18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Light" panose="020B0606030504020204" pitchFamily="34" charset="0"/>
              <a:ea typeface="Open Sans Light" panose="020B0606030504020204" pitchFamily="34" charset="0"/>
              <a:cs typeface="Open Sans Light" panose="020B0606030504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516858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able highlights some of the tasks that may be delegated and supervised by the RDN, given the NDTR’s scope of practice allows</a:t>
            </a:r>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745796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ain steps to create and optimize the RDN-NDTR Team:</a:t>
            </a:r>
          </a:p>
          <a:p>
            <a:pPr marL="171450" indent="-171450">
              <a:buFont typeface="Arial" panose="020B0604020202020204" pitchFamily="34" charset="0"/>
              <a:buChar char="•"/>
            </a:pPr>
            <a:r>
              <a:rPr lang="en-US" dirty="0"/>
              <a:t>Educate yourself and gather information such as job descriptions, and organization policies </a:t>
            </a:r>
          </a:p>
          <a:p>
            <a:pPr marL="171450" indent="-171450">
              <a:buFont typeface="Arial" panose="020B0604020202020204" pitchFamily="34" charset="0"/>
              <a:buChar char="•"/>
            </a:pPr>
            <a:r>
              <a:rPr lang="en-US" dirty="0"/>
              <a:t>Write policies, procedures or protocols governing the team, matching state and federal regulations, industry based scope and standards or practice and evidence based guidelines</a:t>
            </a:r>
          </a:p>
          <a:p>
            <a:pPr marL="171450" indent="-171450">
              <a:buFont typeface="Arial" panose="020B0604020202020204" pitchFamily="34" charset="0"/>
              <a:buChar char="•"/>
            </a:pPr>
            <a:r>
              <a:rPr lang="en-US" dirty="0"/>
              <a:t>Assess the competence of each individual, suggesting additional training or experience if needed to perform the requested activity</a:t>
            </a:r>
          </a:p>
          <a:p>
            <a:pPr marL="171450" indent="-171450">
              <a:buFont typeface="Arial" panose="020B0604020202020204" pitchFamily="34" charset="0"/>
              <a:buChar char="•"/>
            </a:pPr>
            <a:r>
              <a:rPr lang="en-US" dirty="0"/>
              <a:t>Continually monitor competence and meet state and federal regulations </a:t>
            </a:r>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11620341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1</a:t>
            </a:r>
          </a:p>
          <a:p>
            <a:r>
              <a:rPr lang="en-US"/>
              <a:t>Presenter 2</a:t>
            </a:r>
          </a:p>
          <a:p>
            <a:r>
              <a:rPr lang="en-US"/>
              <a:t>Presenter 3</a:t>
            </a:r>
          </a:p>
        </p:txBody>
      </p:sp>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6"/>
                </a:solidFill>
                <a:latin typeface="Myriad Pro Light" panose="020B04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10">
            <a:extLst>
              <a:ext uri="{FF2B5EF4-FFF2-40B4-BE49-F238E27FC236}">
                <a16:creationId xmlns:a16="http://schemas.microsoft.com/office/drawing/2014/main" id="{66DFCC6E-B5B5-25A7-1A2B-B91E315318AB}"/>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467A5B75-4A01-526A-7A14-EF39D0A590CA}"/>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accent6"/>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6"/>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6">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13562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1">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90024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rgbClr val="95006C"/>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rgbClr val="FFA3E5"/>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640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3"/>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3">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722085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5">
              <a:lumMod val="75000"/>
            </a:schemeClr>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5">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8225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59794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688090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3" name="Rectangle: Rounded Corners 10">
            <a:extLst>
              <a:ext uri="{FF2B5EF4-FFF2-40B4-BE49-F238E27FC236}">
                <a16:creationId xmlns:a16="http://schemas.microsoft.com/office/drawing/2014/main" id="{774B033A-70A9-A98B-9A92-DFE234DEE4EE}"/>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3" name="Rectangle: Rounded Corners 10">
            <a:extLst>
              <a:ext uri="{FF2B5EF4-FFF2-40B4-BE49-F238E27FC236}">
                <a16:creationId xmlns:a16="http://schemas.microsoft.com/office/drawing/2014/main" id="{C4DC3B22-9C8A-C2D7-664D-13E775C3B9A0}"/>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a:t>Click icon to add picture</a:t>
            </a:r>
            <a:endParaRPr lang="ko-KR" altLang="en-US"/>
          </a:p>
        </p:txBody>
      </p:sp>
    </p:spTree>
    <p:extLst>
      <p:ext uri="{BB962C8B-B14F-4D97-AF65-F5344CB8AC3E}">
        <p14:creationId xmlns:p14="http://schemas.microsoft.com/office/powerpoint/2010/main" val="12470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Two lines </a:t>
            </a:r>
            <a:br>
              <a:rPr lang="en-US"/>
            </a:br>
            <a:r>
              <a:rPr lang="en-US"/>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8" name="Slide Number Placeholder 5">
            <a:extLst>
              <a:ext uri="{FF2B5EF4-FFF2-40B4-BE49-F238E27FC236}">
                <a16:creationId xmlns:a16="http://schemas.microsoft.com/office/drawing/2014/main" id="{126F9E15-D5A7-48AD-BBE3-0DA4FAFEA773}"/>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9" name="Rectangle: Rounded Corners 18">
            <a:extLst>
              <a:ext uri="{FF2B5EF4-FFF2-40B4-BE49-F238E27FC236}">
                <a16:creationId xmlns:a16="http://schemas.microsoft.com/office/drawing/2014/main" id="{871F122C-A9BF-4CE6-93B2-E227572893B6}"/>
              </a:ext>
            </a:extLst>
          </p:cNvPr>
          <p:cNvSpPr>
            <a:spLocks/>
          </p:cNvSpPr>
          <p:nvPr userDrawn="1"/>
        </p:nvSpPr>
        <p:spPr>
          <a:xfrm>
            <a:off x="130174" y="281411"/>
            <a:ext cx="99897" cy="984885"/>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4">
            <a:extLst>
              <a:ext uri="{FF2B5EF4-FFF2-40B4-BE49-F238E27FC236}">
                <a16:creationId xmlns:a16="http://schemas.microsoft.com/office/drawing/2014/main" id="{4E31F9DA-E89D-A151-7FF9-34D893359904}"/>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hasCustomPrompt="1"/>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42059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0821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9047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5153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8975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342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792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0447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9" name="Rectangle: Rounded Corners 18">
            <a:extLst>
              <a:ext uri="{FF2B5EF4-FFF2-40B4-BE49-F238E27FC236}">
                <a16:creationId xmlns:a16="http://schemas.microsoft.com/office/drawing/2014/main" id="{04A3E101-3644-4590-987E-43105085A2B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8">
            <a:extLst>
              <a:ext uri="{FF2B5EF4-FFF2-40B4-BE49-F238E27FC236}">
                <a16:creationId xmlns:a16="http://schemas.microsoft.com/office/drawing/2014/main" id="{ADA296C0-6094-F8CE-2626-C28C28574058}"/>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3980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a:t>Insert text</a:t>
            </a:r>
          </a:p>
          <a:p>
            <a:pPr lvl="1"/>
            <a:r>
              <a:rPr lang="de-DE"/>
              <a:t>Insert text</a:t>
            </a:r>
          </a:p>
          <a:p>
            <a:pPr lvl="2"/>
            <a:r>
              <a:rPr lang="de-DE"/>
              <a:t>Insert text</a:t>
            </a:r>
          </a:p>
          <a:p>
            <a:pPr lvl="3"/>
            <a:r>
              <a:rPr lang="de-DE"/>
              <a:t>Insert text</a:t>
            </a:r>
          </a:p>
          <a:p>
            <a:pPr lvl="0"/>
            <a:r>
              <a:rPr lang="de-DE"/>
              <a:t>…</a:t>
            </a:r>
          </a:p>
          <a:p>
            <a:pPr lvl="0"/>
            <a:r>
              <a:rPr lang="de-DE"/>
              <a:t>…</a:t>
            </a:r>
          </a:p>
          <a:p>
            <a:pPr lvl="0"/>
            <a:r>
              <a:rPr lang="de-DE"/>
              <a:t>…</a:t>
            </a:r>
          </a:p>
          <a:p>
            <a:pPr lvl="0"/>
            <a:r>
              <a:rPr lang="de-DE"/>
              <a:t>…</a:t>
            </a:r>
          </a:p>
          <a:p>
            <a:pPr lvl="0"/>
            <a:r>
              <a:rPr lang="de-DE"/>
              <a:t>…</a:t>
            </a:r>
          </a:p>
          <a:p>
            <a:pPr lvl="0"/>
            <a:r>
              <a:rPr lang="de-DE"/>
              <a:t>…</a:t>
            </a:r>
          </a:p>
          <a:p>
            <a:pPr lvl="0"/>
            <a:r>
              <a:rPr lang="de-DE"/>
              <a:t>…</a:t>
            </a:r>
          </a:p>
          <a:p>
            <a:pPr lvl="0"/>
            <a:r>
              <a:rPr lang="de-DE"/>
              <a:t>…</a:t>
            </a:r>
          </a:p>
          <a:p>
            <a:pPr lvl="0"/>
            <a:r>
              <a:rPr lang="de-DE"/>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7832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7080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5713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accent6"/>
                </a:solidFill>
              </a:defRPr>
            </a:lvl1pPr>
          </a:lstStyle>
          <a:p>
            <a:r>
              <a:rPr lang="en-US"/>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3142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13" name="Textplatzhalter 7"/>
          <p:cNvSpPr>
            <a:spLocks noGrp="1"/>
          </p:cNvSpPr>
          <p:nvPr>
            <p:ph type="body" sz="quarter" idx="25" hasCustomPrompt="1"/>
          </p:nvPr>
        </p:nvSpPr>
        <p:spPr>
          <a:xfrm>
            <a:off x="339853"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underline</a:t>
            </a:r>
          </a:p>
        </p:txBody>
      </p:sp>
      <p:sp>
        <p:nvSpPr>
          <p:cNvPr id="16" name="Textplatzhalter 7"/>
          <p:cNvSpPr>
            <a:spLocks noGrp="1"/>
          </p:cNvSpPr>
          <p:nvPr>
            <p:ph type="body" sz="quarter" idx="26" hasCustomPrompt="1"/>
          </p:nvPr>
        </p:nvSpPr>
        <p:spPr>
          <a:xfrm>
            <a:off x="6567056"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222445"/>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222445"/>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222445"/>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265988"/>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265988"/>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265988"/>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265988"/>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22" name="Textplatzhalter 7"/>
          <p:cNvSpPr>
            <a:spLocks noGrp="1"/>
          </p:cNvSpPr>
          <p:nvPr>
            <p:ph type="body" sz="quarter" idx="25" hasCustomPrompt="1"/>
          </p:nvPr>
        </p:nvSpPr>
        <p:spPr>
          <a:xfrm>
            <a:off x="3398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hasCustomPrompt="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Tree>
    <p:extLst>
      <p:ext uri="{BB962C8B-B14F-4D97-AF65-F5344CB8AC3E}">
        <p14:creationId xmlns:p14="http://schemas.microsoft.com/office/powerpoint/2010/main" val="312926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6" name="Bildplatzhalter 8"/>
          <p:cNvSpPr>
            <a:spLocks noGrp="1"/>
          </p:cNvSpPr>
          <p:nvPr>
            <p:ph type="pic" sz="quarter" idx="38" hasCustomPrompt="1"/>
          </p:nvPr>
        </p:nvSpPr>
        <p:spPr>
          <a:xfrm>
            <a:off x="339852" y="1461558"/>
            <a:ext cx="5568696" cy="4373185"/>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hasCustomPrompt="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Tree>
    <p:extLst>
      <p:ext uri="{BB962C8B-B14F-4D97-AF65-F5344CB8AC3E}">
        <p14:creationId xmlns:p14="http://schemas.microsoft.com/office/powerpoint/2010/main" val="377442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hasCustomPrompt="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Tree>
    <p:extLst>
      <p:ext uri="{BB962C8B-B14F-4D97-AF65-F5344CB8AC3E}">
        <p14:creationId xmlns:p14="http://schemas.microsoft.com/office/powerpoint/2010/main" val="2743890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083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749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4B675A-0708-3EDC-3849-67F94BE90015}"/>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a:solidFill>
                  <a:schemeClr val="tx1"/>
                </a:solidFill>
              </a:rPr>
              <a:t>Thank you!</a:t>
            </a:r>
          </a:p>
        </p:txBody>
      </p:sp>
      <p:sp>
        <p:nvSpPr>
          <p:cNvPr id="2" name="Text Placeholder 9">
            <a:extLst>
              <a:ext uri="{FF2B5EF4-FFF2-40B4-BE49-F238E27FC236}">
                <a16:creationId xmlns:a16="http://schemas.microsoft.com/office/drawing/2014/main" id="{47051A44-586D-BF84-3C8C-E3C1EFEF0DA7}"/>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Tree>
    <p:extLst>
      <p:ext uri="{BB962C8B-B14F-4D97-AF65-F5344CB8AC3E}">
        <p14:creationId xmlns:p14="http://schemas.microsoft.com/office/powerpoint/2010/main" val="2029505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accent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2355E-5E54-A5A3-E9B5-9E11A9E9B748}"/>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a:solidFill>
                  <a:schemeClr val="bg1"/>
                </a:solidFill>
              </a:rPr>
              <a:t>Thank you!</a:t>
            </a:r>
          </a:p>
        </p:txBody>
      </p:sp>
      <p:sp>
        <p:nvSpPr>
          <p:cNvPr id="5" name="Text Placeholder 9">
            <a:extLst>
              <a:ext uri="{FF2B5EF4-FFF2-40B4-BE49-F238E27FC236}">
                <a16:creationId xmlns:a16="http://schemas.microsoft.com/office/drawing/2014/main" id="{A43DC793-FAE8-CF65-F65E-46340CE7FE81}"/>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a:t>Content</a:t>
            </a:r>
          </a:p>
          <a:p>
            <a:pPr lvl="1"/>
            <a:r>
              <a:rPr lang="en-US"/>
              <a:t>First bullet</a:t>
            </a:r>
          </a:p>
          <a:p>
            <a:pPr lvl="2"/>
            <a:r>
              <a:rPr lang="en-US"/>
              <a:t>Second bullet</a:t>
            </a:r>
          </a:p>
          <a:p>
            <a:pPr lvl="3"/>
            <a:r>
              <a:rPr lang="en-US"/>
              <a:t>Third bullet</a:t>
            </a:r>
          </a:p>
          <a:p>
            <a:pPr lvl="5"/>
            <a:r>
              <a:rPr lang="en-US"/>
              <a:t>Fourth bullet</a:t>
            </a:r>
          </a:p>
        </p:txBody>
      </p:sp>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61"/>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272" imgH="272" progId="TCLayout.ActiveDocument.1">
                  <p:embed/>
                </p:oleObj>
              </mc:Choice>
              <mc:Fallback>
                <p:oleObj name="think-cell Slide" r:id="rId62"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64">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684" r:id="rId19"/>
    <p:sldLayoutId id="2147483689" r:id="rId20"/>
    <p:sldLayoutId id="2147483691" r:id="rId21"/>
    <p:sldLayoutId id="2147483708" r:id="rId22"/>
    <p:sldLayoutId id="2147483709" r:id="rId23"/>
    <p:sldLayoutId id="2147483710" r:id="rId24"/>
    <p:sldLayoutId id="2147483719" r:id="rId25"/>
    <p:sldLayoutId id="2147483661" r:id="rId26"/>
    <p:sldLayoutId id="2147483716" r:id="rId27"/>
    <p:sldLayoutId id="2147483685" r:id="rId28"/>
    <p:sldLayoutId id="2147483683" r:id="rId29"/>
    <p:sldLayoutId id="2147483688" r:id="rId30"/>
    <p:sldLayoutId id="2147483681" r:id="rId31"/>
    <p:sldLayoutId id="2147483677" r:id="rId32"/>
    <p:sldLayoutId id="2147483692" r:id="rId33"/>
    <p:sldLayoutId id="2147483711" r:id="rId34"/>
    <p:sldLayoutId id="2147483713" r:id="rId35"/>
    <p:sldLayoutId id="2147483714" r:id="rId36"/>
    <p:sldLayoutId id="2147483720" r:id="rId37"/>
    <p:sldLayoutId id="2147483690" r:id="rId38"/>
    <p:sldLayoutId id="2147483712" r:id="rId39"/>
    <p:sldLayoutId id="2147483715" r:id="rId40"/>
    <p:sldLayoutId id="2147483721" r:id="rId41"/>
    <p:sldLayoutId id="2147483693" r:id="rId42"/>
    <p:sldLayoutId id="2147483664" r:id="rId43"/>
    <p:sldLayoutId id="2147483662" r:id="rId44"/>
    <p:sldLayoutId id="2147483717" r:id="rId45"/>
    <p:sldLayoutId id="2147483718" r:id="rId46"/>
    <p:sldLayoutId id="2147483722" r:id="rId47"/>
    <p:sldLayoutId id="2147483665" r:id="rId48"/>
    <p:sldLayoutId id="2147483666" r:id="rId49"/>
    <p:sldLayoutId id="2147483667" r:id="rId50"/>
    <p:sldLayoutId id="2147483668" r:id="rId51"/>
    <p:sldLayoutId id="2147483669" r:id="rId52"/>
    <p:sldLayoutId id="2147483670" r:id="rId53"/>
    <p:sldLayoutId id="2147483671" r:id="rId54"/>
    <p:sldLayoutId id="2147483672" r:id="rId55"/>
    <p:sldLayoutId id="2147483655" r:id="rId56"/>
    <p:sldLayoutId id="2147483696" r:id="rId57"/>
    <p:sldLayoutId id="2147483697" r:id="rId58"/>
    <p:sldLayoutId id="2147483698" r:id="rId59"/>
  </p:sldLayoutIdLst>
  <p:hf hdr="0" ftr="0" dt="0"/>
  <p:txStyles>
    <p:titleStyle>
      <a:lvl1pPr algn="l" defTabSz="914400" rtl="0" eaLnBrk="1" latinLnBrk="0" hangingPunct="1">
        <a:lnSpc>
          <a:spcPct val="100000"/>
        </a:lnSpc>
        <a:spcBef>
          <a:spcPct val="0"/>
        </a:spcBef>
        <a:buNone/>
        <a:defRPr lang="en-US" sz="3200" b="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17/04/relationships/track" Target="../media/track1.vtt"/><Relationship Id="rId3" Type="http://schemas.openxmlformats.org/officeDocument/2006/relationships/audio" Target="../media/media1.m4a"/><Relationship Id="rId7" Type="http://schemas.openxmlformats.org/officeDocument/2006/relationships/image" Target="../media/image1.emf"/><Relationship Id="rId2" Type="http://schemas.microsoft.com/office/2007/relationships/media" Target="../media/media1.m4a"/><Relationship Id="rId1" Type="http://schemas.openxmlformats.org/officeDocument/2006/relationships/tags" Target="../tags/tag58.xml"/><Relationship Id="rId6" Type="http://schemas.openxmlformats.org/officeDocument/2006/relationships/oleObject" Target="../embeddings/oleObject28.bin"/><Relationship Id="rId5" Type="http://schemas.openxmlformats.org/officeDocument/2006/relationships/notesSlide" Target="../notesSlides/notesSlide1.xml"/><Relationship Id="rId10" Type="http://schemas.openxmlformats.org/officeDocument/2006/relationships/image" Target="../media/image5.jpeg"/><Relationship Id="rId4" Type="http://schemas.openxmlformats.org/officeDocument/2006/relationships/slideLayout" Target="../slideLayouts/slideLayout1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4.png"/><Relationship Id="rId2" Type="http://schemas.openxmlformats.org/officeDocument/2006/relationships/audio" Target="../media/media10.m4a"/><Relationship Id="rId1" Type="http://schemas.microsoft.com/office/2007/relationships/media" Target="../media/media10.m4a"/><Relationship Id="rId6" Type="http://schemas.microsoft.com/office/2017/04/relationships/track" Target="../media/track10.vtt"/><Relationship Id="rId5" Type="http://schemas.openxmlformats.org/officeDocument/2006/relationships/image" Target="../media/image12.jp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png"/><Relationship Id="rId2" Type="http://schemas.openxmlformats.org/officeDocument/2006/relationships/audio" Target="../media/media11.m4a"/><Relationship Id="rId1" Type="http://schemas.microsoft.com/office/2007/relationships/media" Target="../media/media11.m4a"/><Relationship Id="rId6" Type="http://schemas.microsoft.com/office/2017/04/relationships/track" Target="../media/track11.vtt"/><Relationship Id="rId5" Type="http://schemas.openxmlformats.org/officeDocument/2006/relationships/image" Target="../media/image13.jp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4.png"/><Relationship Id="rId5" Type="http://schemas.microsoft.com/office/2017/04/relationships/track" Target="../media/track12.vtt"/><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audio" Target="../media/media13.m4a"/><Relationship Id="rId7" Type="http://schemas.openxmlformats.org/officeDocument/2006/relationships/image" Target="../media/image1.emf"/><Relationship Id="rId2" Type="http://schemas.microsoft.com/office/2007/relationships/media" Target="../media/media13.m4a"/><Relationship Id="rId1" Type="http://schemas.openxmlformats.org/officeDocument/2006/relationships/tags" Target="../tags/tag60.xml"/><Relationship Id="rId6" Type="http://schemas.openxmlformats.org/officeDocument/2006/relationships/oleObject" Target="../embeddings/oleObject30.bin"/><Relationship Id="rId5" Type="http://schemas.openxmlformats.org/officeDocument/2006/relationships/notesSlide" Target="../notesSlides/notesSlide13.xml"/><Relationship Id="rId10" Type="http://schemas.openxmlformats.org/officeDocument/2006/relationships/image" Target="../media/image4.png"/><Relationship Id="rId4" Type="http://schemas.openxmlformats.org/officeDocument/2006/relationships/slideLayout" Target="../slideLayouts/slideLayout18.xml"/><Relationship Id="rId9" Type="http://schemas.microsoft.com/office/2017/04/relationships/track" Target="../media/track13.vtt"/></Relationships>
</file>

<file path=ppt/slides/_rels/slide14.xml.rels><?xml version="1.0" encoding="UTF-8" standalone="yes"?>
<Relationships xmlns="http://schemas.openxmlformats.org/package/2006/relationships"><Relationship Id="rId8" Type="http://schemas.openxmlformats.org/officeDocument/2006/relationships/hyperlink" Target="mailto:scope@eatright.org" TargetMode="External"/><Relationship Id="rId3" Type="http://schemas.openxmlformats.org/officeDocument/2006/relationships/audio" Target="../media/media14.m4a"/><Relationship Id="rId7" Type="http://schemas.openxmlformats.org/officeDocument/2006/relationships/image" Target="../media/image1.emf"/><Relationship Id="rId2" Type="http://schemas.microsoft.com/office/2007/relationships/media" Target="../media/media14.m4a"/><Relationship Id="rId1" Type="http://schemas.openxmlformats.org/officeDocument/2006/relationships/tags" Target="../tags/tag61.xml"/><Relationship Id="rId6" Type="http://schemas.openxmlformats.org/officeDocument/2006/relationships/oleObject" Target="../embeddings/oleObject31.bin"/><Relationship Id="rId5" Type="http://schemas.openxmlformats.org/officeDocument/2006/relationships/notesSlide" Target="../notesSlides/notesSlide14.xml"/><Relationship Id="rId10" Type="http://schemas.openxmlformats.org/officeDocument/2006/relationships/image" Target="../media/image4.png"/><Relationship Id="rId4" Type="http://schemas.openxmlformats.org/officeDocument/2006/relationships/slideLayout" Target="../slideLayouts/slideLayout59.xml"/><Relationship Id="rId9" Type="http://schemas.microsoft.com/office/2017/04/relationships/track" Target="../media/track14.vtt"/></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6.xml"/><Relationship Id="rId7" Type="http://schemas.openxmlformats.org/officeDocument/2006/relationships/diagramQuickStyle" Target="../diagrams/quickStyle1.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diagramLayout" Target="../diagrams/layout1.xml"/><Relationship Id="rId11" Type="http://schemas.openxmlformats.org/officeDocument/2006/relationships/image" Target="../media/image4.png"/><Relationship Id="rId5" Type="http://schemas.openxmlformats.org/officeDocument/2006/relationships/diagramData" Target="../diagrams/data1.xml"/><Relationship Id="rId10" Type="http://schemas.microsoft.com/office/2017/04/relationships/track" Target="../media/track2.vtt"/><Relationship Id="rId4" Type="http://schemas.openxmlformats.org/officeDocument/2006/relationships/notesSlide" Target="../notesSlides/notesSlide2.xml"/><Relationship Id="rId9" Type="http://schemas.microsoft.com/office/2007/relationships/diagramDrawing" Target="../diagrams/drawing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png"/><Relationship Id="rId2" Type="http://schemas.openxmlformats.org/officeDocument/2006/relationships/audio" Target="../media/media3.m4a"/><Relationship Id="rId1" Type="http://schemas.microsoft.com/office/2007/relationships/media" Target="../media/media3.m4a"/><Relationship Id="rId6" Type="http://schemas.microsoft.com/office/2017/04/relationships/track" Target="../media/track3.vtt"/><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png"/><Relationship Id="rId2" Type="http://schemas.openxmlformats.org/officeDocument/2006/relationships/audio" Target="../media/media4.m4a"/><Relationship Id="rId1" Type="http://schemas.microsoft.com/office/2007/relationships/media" Target="../media/media4.m4a"/><Relationship Id="rId6" Type="http://schemas.microsoft.com/office/2017/04/relationships/track" Target="../media/track4.vtt"/><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audio" Target="../media/media5.m4a"/><Relationship Id="rId7" Type="http://schemas.openxmlformats.org/officeDocument/2006/relationships/image" Target="../media/image1.emf"/><Relationship Id="rId2" Type="http://schemas.microsoft.com/office/2007/relationships/media" Target="../media/media5.m4a"/><Relationship Id="rId1" Type="http://schemas.openxmlformats.org/officeDocument/2006/relationships/tags" Target="../tags/tag59.xml"/><Relationship Id="rId6" Type="http://schemas.openxmlformats.org/officeDocument/2006/relationships/oleObject" Target="../embeddings/oleObject29.bin"/><Relationship Id="rId5" Type="http://schemas.openxmlformats.org/officeDocument/2006/relationships/notesSlide" Target="../notesSlides/notesSlide5.xml"/><Relationship Id="rId10" Type="http://schemas.openxmlformats.org/officeDocument/2006/relationships/image" Target="../media/image4.png"/><Relationship Id="rId4" Type="http://schemas.openxmlformats.org/officeDocument/2006/relationships/slideLayout" Target="../slideLayouts/slideLayout20.xml"/><Relationship Id="rId9" Type="http://schemas.microsoft.com/office/2017/04/relationships/track" Target="../media/track5.vtt"/></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png"/><Relationship Id="rId2" Type="http://schemas.openxmlformats.org/officeDocument/2006/relationships/audio" Target="../media/media6.m4a"/><Relationship Id="rId1" Type="http://schemas.microsoft.com/office/2007/relationships/media" Target="../media/media6.m4a"/><Relationship Id="rId6" Type="http://schemas.microsoft.com/office/2017/04/relationships/track" Target="../media/track6.vtt"/><Relationship Id="rId5" Type="http://schemas.openxmlformats.org/officeDocument/2006/relationships/image" Target="../media/image9.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png"/><Relationship Id="rId2" Type="http://schemas.openxmlformats.org/officeDocument/2006/relationships/audio" Target="../media/media7.m4a"/><Relationship Id="rId1" Type="http://schemas.microsoft.com/office/2007/relationships/media" Target="../media/media7.m4a"/><Relationship Id="rId6" Type="http://schemas.microsoft.com/office/2017/04/relationships/track" Target="../media/track7.vtt"/><Relationship Id="rId5" Type="http://schemas.openxmlformats.org/officeDocument/2006/relationships/image" Target="../media/image10.jp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4.png"/><Relationship Id="rId5" Type="http://schemas.microsoft.com/office/2017/04/relationships/track" Target="../media/track8.vtt"/><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png"/><Relationship Id="rId2" Type="http://schemas.openxmlformats.org/officeDocument/2006/relationships/audio" Target="../media/media9.m4a"/><Relationship Id="rId1" Type="http://schemas.microsoft.com/office/2007/relationships/media" Target="../media/media9.m4a"/><Relationship Id="rId6" Type="http://schemas.microsoft.com/office/2017/04/relationships/track" Target="../media/track9.vtt"/><Relationship Id="rId5" Type="http://schemas.openxmlformats.org/officeDocument/2006/relationships/image" Target="../media/image11.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762114"/>
            <a:ext cx="5860472" cy="738664"/>
          </a:xfrm>
        </p:spPr>
        <p:txBody>
          <a:bodyPr vert="horz"/>
          <a:lstStyle/>
          <a:p>
            <a:r>
              <a:rPr lang="en-GB" dirty="0"/>
              <a:t>Practice Tools</a:t>
            </a:r>
          </a:p>
        </p:txBody>
      </p:sp>
      <p:sp>
        <p:nvSpPr>
          <p:cNvPr id="7" name="Subtitle 6">
            <a:extLst>
              <a:ext uri="{FF2B5EF4-FFF2-40B4-BE49-F238E27FC236}">
                <a16:creationId xmlns:a16="http://schemas.microsoft.com/office/drawing/2014/main" id="{D6C3036C-D229-4007-B6A3-98E0EB5ADEEA}"/>
              </a:ext>
            </a:extLst>
          </p:cNvPr>
          <p:cNvSpPr>
            <a:spLocks noGrp="1"/>
          </p:cNvSpPr>
          <p:nvPr>
            <p:ph type="subTitle" idx="1"/>
          </p:nvPr>
        </p:nvSpPr>
        <p:spPr>
          <a:xfrm>
            <a:off x="5770419" y="4475922"/>
            <a:ext cx="5860472" cy="430887"/>
          </a:xfrm>
        </p:spPr>
        <p:txBody>
          <a:bodyPr/>
          <a:lstStyle/>
          <a:p>
            <a:r>
              <a:rPr lang="en-GB" sz="2800" dirty="0"/>
              <a:t>Supervision and Autonomy </a:t>
            </a:r>
          </a:p>
        </p:txBody>
      </p:sp>
      <p:graphicFrame>
        <p:nvGraphicFramePr>
          <p:cNvPr id="4" name="Object 3" descr="Unfocused photo of medical professionals conferring in a lobby" hidden="1">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119984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50739B86-31F5-4209-9557-884043174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Audio 11" descr="Audio speaker icon">
            <a:hlinkClick r:id="" action="ppaction://media"/>
            <a:extLst>
              <a:ext uri="{FF2B5EF4-FFF2-40B4-BE49-F238E27FC236}">
                <a16:creationId xmlns:a16="http://schemas.microsoft.com/office/drawing/2014/main" id="{472AC541-F170-70EC-512F-72A0656E1288}"/>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323E064E-6848-5941-BD95-FB77A5041E54}" label="" lang="en-us" r:embed="rId8"/>
                        </p173:trackLst>
                      </p173:tracksInfo>
                    </p:ext>
                  </p14:extLst>
                </p14:media>
              </p:ext>
            </p:extLst>
          </p:nvPr>
        </p:nvPicPr>
        <p:blipFill>
          <a:blip r:embed="rId9"/>
          <a:srcRect l="-118750" t="-118750" r="-118750" b="-118750"/>
          <a:stretch>
            <a:fillRect/>
          </a:stretch>
        </p:blipFill>
        <p:spPr>
          <a:xfrm>
            <a:off x="10052304" y="4718304"/>
            <a:ext cx="2057400" cy="2057400"/>
          </a:xfrm>
          <a:prstGeom prst="ellipse">
            <a:avLst/>
          </a:prstGeom>
        </p:spPr>
      </p:pic>
      <p:pic>
        <p:nvPicPr>
          <p:cNvPr id="31" name="Picture Placeholder 30">
            <a:extLst>
              <a:ext uri="{FF2B5EF4-FFF2-40B4-BE49-F238E27FC236}">
                <a16:creationId xmlns:a16="http://schemas.microsoft.com/office/drawing/2014/main" id="{1A535AB1-1A59-4852-9F43-A11236A98346}"/>
              </a:ext>
              <a:ext uri="{C183D7F6-B498-43B3-948B-1728B52AA6E4}">
                <adec:decorative xmlns:adec="http://schemas.microsoft.com/office/drawing/2017/decorative" val="1"/>
              </a:ext>
            </a:extLst>
          </p:cNvPr>
          <p:cNvPicPr>
            <a:picLocks noGrp="1" noChangeAspect="1"/>
          </p:cNvPicPr>
          <p:nvPr>
            <p:ph type="pic" sz="quarter" idx="10"/>
          </p:nvPr>
        </p:nvPicPr>
        <p:blipFill>
          <a:blip r:embed="rId10"/>
          <a:srcRect t="7704" b="7704"/>
          <a:stretch/>
        </p:blipFill>
        <p:spPr>
          <a:xfrm>
            <a:off x="0" y="0"/>
            <a:ext cx="5370897" cy="6858000"/>
          </a:xfrm>
        </p:spPr>
      </p:pic>
    </p:spTree>
    <p:extLst>
      <p:ext uri="{BB962C8B-B14F-4D97-AF65-F5344CB8AC3E}">
        <p14:creationId xmlns:p14="http://schemas.microsoft.com/office/powerpoint/2010/main" val="418916183"/>
      </p:ext>
    </p:extLst>
  </p:cSld>
  <p:clrMapOvr>
    <a:masterClrMapping/>
  </p:clrMapOvr>
  <mc:AlternateContent xmlns:mc="http://schemas.openxmlformats.org/markup-compatibility/2006" xmlns:p14="http://schemas.microsoft.com/office/powerpoint/2010/main">
    <mc:Choice Requires="p14">
      <p:transition spd="slow" p14:dur="2000" advTm="5868"/>
    </mc:Choice>
    <mc:Fallback xmlns="">
      <p:transition spd="slow" advTm="58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20C42-0E76-0065-A0D2-936E882B33F5}"/>
              </a:ext>
            </a:extLst>
          </p:cNvPr>
          <p:cNvSpPr>
            <a:spLocks noGrp="1"/>
          </p:cNvSpPr>
          <p:nvPr>
            <p:ph type="title"/>
          </p:nvPr>
        </p:nvSpPr>
        <p:spPr/>
        <p:txBody>
          <a:bodyPr/>
          <a:lstStyle/>
          <a:p>
            <a:r>
              <a:rPr lang="en-US" dirty="0"/>
              <a:t>When to Cosign</a:t>
            </a:r>
          </a:p>
        </p:txBody>
      </p:sp>
      <p:sp>
        <p:nvSpPr>
          <p:cNvPr id="3" name="Text Placeholder 2">
            <a:extLst>
              <a:ext uri="{FF2B5EF4-FFF2-40B4-BE49-F238E27FC236}">
                <a16:creationId xmlns:a16="http://schemas.microsoft.com/office/drawing/2014/main" id="{2BAE3872-7BBA-40D7-7837-9CE03331193B}"/>
              </a:ext>
            </a:extLst>
          </p:cNvPr>
          <p:cNvSpPr>
            <a:spLocks noGrp="1"/>
          </p:cNvSpPr>
          <p:nvPr>
            <p:ph type="body" sz="quarter" idx="12"/>
          </p:nvPr>
        </p:nvSpPr>
        <p:spPr>
          <a:xfrm>
            <a:off x="340094" y="1384614"/>
            <a:ext cx="5561943" cy="4585871"/>
          </a:xfrm>
        </p:spPr>
        <p:txBody>
          <a:bodyPr/>
          <a:lstStyle/>
          <a:p>
            <a:pPr marL="91440">
              <a:spcBef>
                <a:spcPts val="0"/>
              </a:spcBef>
            </a:pPr>
            <a:r>
              <a:rPr lang="en-US" sz="2400" dirty="0">
                <a:latin typeface="Open Sans Light" panose="020B0606030504020204" pitchFamily="34" charset="0"/>
                <a:ea typeface="Open Sans Light" panose="020B0606030504020204" pitchFamily="34" charset="0"/>
                <a:cs typeface="Open Sans Light" panose="020B0606030504020204" pitchFamily="34" charset="0"/>
              </a:rPr>
              <a:t>In clinical settings when data is entered into a</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medical record by “others” (</a:t>
            </a:r>
            <a:r>
              <a:rPr lang="en-US" sz="2400" kern="0" spc="-5" dirty="0" err="1">
                <a:solidFill>
                  <a:srgbClr val="343131"/>
                </a:solidFill>
                <a:latin typeface="Open Sans Light" panose="020B0606030504020204" pitchFamily="34" charset="0"/>
                <a:ea typeface="Open Sans Light" panose="020B0606030504020204" pitchFamily="34" charset="0"/>
                <a:cs typeface="Open Sans Light" panose="020B0606030504020204" pitchFamily="34" charset="0"/>
              </a:rPr>
              <a:t>eg</a:t>
            </a:r>
            <a:r>
              <a:rPr lang="en-US" sz="2400" kern="0" spc="-5" dirty="0">
                <a:solidFill>
                  <a:srgbClr val="343131"/>
                </a:solidFill>
                <a:latin typeface="Open Sans Light" panose="020B0606030504020204" pitchFamily="34" charset="0"/>
                <a:ea typeface="Open Sans Light" panose="020B0606030504020204" pitchFamily="34" charset="0"/>
                <a:cs typeface="Open Sans Light" panose="020B0606030504020204" pitchFamily="34" charset="0"/>
              </a:rPr>
              <a:t>, other</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RDNs, NDTRs, unlicensed and/or non-credentialed practitioners, or </a:t>
            </a:r>
            <a:r>
              <a:rPr lang="en-US" sz="2400" kern="0" dirty="0">
                <a:effectLst/>
                <a:latin typeface="Open Sans Light" panose="020B0606030504020204" pitchFamily="34" charset="0"/>
                <a:ea typeface="Open Sans Light" panose="020B0606030504020204" pitchFamily="34" charset="0"/>
                <a:cs typeface="Open Sans Light" panose="020B0606030504020204" pitchFamily="34" charset="0"/>
              </a:rPr>
              <a:t>students/interns)</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the </a:t>
            </a:r>
            <a:r>
              <a:rPr lang="en-US" sz="2400" kern="0" spc="-5" dirty="0">
                <a:effectLst/>
                <a:latin typeface="Open Sans Light" panose="020B0606030504020204" pitchFamily="34" charset="0"/>
                <a:ea typeface="Open Sans Light" panose="020B0606030504020204" pitchFamily="34" charset="0"/>
                <a:cs typeface="Open Sans Light" panose="020B0606030504020204" pitchFamily="34" charset="0"/>
              </a:rPr>
              <a:t>supervising</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RDN may be required to cosign. </a:t>
            </a:r>
          </a:p>
          <a:p>
            <a:pPr marL="91440">
              <a:spcAft>
                <a:spcPts val="0"/>
              </a:spcAft>
            </a:pP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This signature implies</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that</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the</a:t>
            </a:r>
            <a:r>
              <a:rPr lang="en-US" sz="2400" kern="0" spc="-2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RDN</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has assigned, </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is</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responsibility</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for,</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and h</a:t>
            </a:r>
            <a:r>
              <a:rPr lang="en-US" sz="2400" kern="0" spc="-1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as</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approved</a:t>
            </a:r>
            <a:r>
              <a:rPr lang="en-US" sz="2400" kern="0" spc="-1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sz="2400" kern="0"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the </a:t>
            </a:r>
            <a:r>
              <a:rPr lang="en-US" sz="2400" kern="0" spc="-5" dirty="0">
                <a:solidFill>
                  <a:srgbClr val="343131"/>
                </a:solidFill>
                <a:effectLst/>
                <a:latin typeface="Open Sans Light" panose="020B0606030504020204" pitchFamily="34" charset="0"/>
                <a:ea typeface="Open Sans Light" panose="020B0606030504020204" pitchFamily="34" charset="0"/>
                <a:cs typeface="Open Sans Light" panose="020B0606030504020204" pitchFamily="34" charset="0"/>
              </a:rPr>
              <a:t>care provided to patients/clients</a:t>
            </a:r>
            <a:r>
              <a:rPr lang="en-US" sz="2400" kern="0" dirty="0">
                <a:effectLst/>
                <a:latin typeface="Open Sans Light" panose="020B0606030504020204" pitchFamily="34" charset="0"/>
                <a:ea typeface="Open Sans Light" panose="020B0606030504020204" pitchFamily="34" charset="0"/>
                <a:cs typeface="Open Sans Light" panose="020B0606030504020204" pitchFamily="34" charset="0"/>
              </a:rPr>
              <a:t>.  </a:t>
            </a:r>
          </a:p>
          <a:p>
            <a:pPr marL="91440">
              <a:spcBef>
                <a:spcPts val="0"/>
              </a:spcBef>
              <a:spcAft>
                <a:spcPts val="0"/>
              </a:spcAft>
            </a:pPr>
            <a:endParaRPr lang="en-US" sz="2400" kern="0" dirty="0">
              <a:latin typeface="Open Sans Light" panose="020B0606030504020204" pitchFamily="34" charset="0"/>
              <a:ea typeface="Open Sans Light" panose="020B0606030504020204" pitchFamily="34" charset="0"/>
              <a:cs typeface="Open Sans Light" panose="020B0606030504020204" pitchFamily="34" charset="0"/>
            </a:endParaRPr>
          </a:p>
        </p:txBody>
      </p:sp>
      <p:pic>
        <p:nvPicPr>
          <p:cNvPr id="6" name="Picture Placeholder 5" descr="Portrait of doctor smiling">
            <a:extLst>
              <a:ext uri="{FF2B5EF4-FFF2-40B4-BE49-F238E27FC236}">
                <a16:creationId xmlns:a16="http://schemas.microsoft.com/office/drawing/2014/main" id="{6F7C2C12-37B4-42F6-B88B-434EAA34DC8E}"/>
              </a:ext>
            </a:extLst>
          </p:cNvPr>
          <p:cNvPicPr>
            <a:picLocks noGrp="1" noChangeAspect="1"/>
          </p:cNvPicPr>
          <p:nvPr>
            <p:ph type="pic" sz="quarter" idx="15"/>
          </p:nvPr>
        </p:nvPicPr>
        <p:blipFill>
          <a:blip r:embed="rId5"/>
          <a:srcRect l="17640" r="17640"/>
          <a:stretch/>
        </p:blipFill>
        <p:spPr/>
      </p:pic>
      <p:sp>
        <p:nvSpPr>
          <p:cNvPr id="4" name="TextBox 3">
            <a:extLst>
              <a:ext uri="{FF2B5EF4-FFF2-40B4-BE49-F238E27FC236}">
                <a16:creationId xmlns:a16="http://schemas.microsoft.com/office/drawing/2014/main" id="{8710E68B-F90D-F955-FF4F-A00C93685A6F}"/>
              </a:ext>
            </a:extLst>
          </p:cNvPr>
          <p:cNvSpPr txBox="1"/>
          <p:nvPr/>
        </p:nvSpPr>
        <p:spPr>
          <a:xfrm>
            <a:off x="31210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8" name="Audio 7" descr="Audio speaker icon">
            <a:hlinkClick r:id="" action="ppaction://media"/>
            <a:extLst>
              <a:ext uri="{FF2B5EF4-FFF2-40B4-BE49-F238E27FC236}">
                <a16:creationId xmlns:a16="http://schemas.microsoft.com/office/drawing/2014/main" id="{83B7F44F-CD06-E953-B807-2F366E25D50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D9B132E7-F288-1544-BAF0-3F6271AD89CF}"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081174869"/>
      </p:ext>
    </p:extLst>
  </p:cSld>
  <p:clrMapOvr>
    <a:masterClrMapping/>
  </p:clrMapOvr>
  <mc:AlternateContent xmlns:mc="http://schemas.openxmlformats.org/markup-compatibility/2006" xmlns:p14="http://schemas.microsoft.com/office/powerpoint/2010/main">
    <mc:Choice Requires="p14">
      <p:transition spd="slow" p14:dur="2000" advTm="34610"/>
    </mc:Choice>
    <mc:Fallback xmlns="">
      <p:transition spd="slow" advTm="3461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A1D64D-F243-EFED-045D-16FFD820296E}"/>
              </a:ext>
            </a:extLst>
          </p:cNvPr>
          <p:cNvSpPr>
            <a:spLocks noGrp="1"/>
          </p:cNvSpPr>
          <p:nvPr>
            <p:ph type="title"/>
          </p:nvPr>
        </p:nvSpPr>
        <p:spPr>
          <a:xfrm>
            <a:off x="6331346" y="103610"/>
            <a:ext cx="5561943" cy="1300927"/>
          </a:xfrm>
        </p:spPr>
        <p:txBody>
          <a:bodyPr/>
          <a:lstStyle/>
          <a:p>
            <a:r>
              <a:rPr lang="en-US" dirty="0"/>
              <a:t>What to consider when developing a cosigning policy</a:t>
            </a:r>
          </a:p>
        </p:txBody>
      </p:sp>
      <p:pic>
        <p:nvPicPr>
          <p:cNvPr id="9" name="Content Placeholder 8" descr="Office clerk searching for files">
            <a:extLst>
              <a:ext uri="{FF2B5EF4-FFF2-40B4-BE49-F238E27FC236}">
                <a16:creationId xmlns:a16="http://schemas.microsoft.com/office/drawing/2014/main" id="{3FDED205-D651-31A2-146A-46D03FE613DE}"/>
              </a:ext>
            </a:extLst>
          </p:cNvPr>
          <p:cNvPicPr>
            <a:picLocks noGrp="1" noChangeAspect="1"/>
          </p:cNvPicPr>
          <p:nvPr>
            <p:ph sz="quarter" idx="16"/>
          </p:nvPr>
        </p:nvPicPr>
        <p:blipFill>
          <a:blip r:embed="rId5"/>
          <a:stretch>
            <a:fillRect/>
          </a:stretch>
        </p:blipFill>
        <p:spPr>
          <a:xfrm>
            <a:off x="328613" y="1159106"/>
            <a:ext cx="5562600" cy="4171488"/>
          </a:xfrm>
        </p:spPr>
      </p:pic>
      <p:sp>
        <p:nvSpPr>
          <p:cNvPr id="6" name="Text Placeholder 5">
            <a:extLst>
              <a:ext uri="{FF2B5EF4-FFF2-40B4-BE49-F238E27FC236}">
                <a16:creationId xmlns:a16="http://schemas.microsoft.com/office/drawing/2014/main" id="{155FA4B8-DFFA-166C-6362-851EC0C03D10}"/>
              </a:ext>
            </a:extLst>
          </p:cNvPr>
          <p:cNvSpPr>
            <a:spLocks noGrp="1"/>
          </p:cNvSpPr>
          <p:nvPr>
            <p:ph type="body" sz="quarter" idx="12"/>
          </p:nvPr>
        </p:nvSpPr>
        <p:spPr>
          <a:xfrm>
            <a:off x="6301190" y="1582337"/>
            <a:ext cx="5622257" cy="5047536"/>
          </a:xfrm>
        </p:spPr>
        <p:txBody>
          <a:bodyPr/>
          <a:lstStyle/>
          <a:p>
            <a:pPr marL="342900" indent="-342900">
              <a:buFont typeface="Arial" panose="020B0604020202020204" pitchFamily="34" charset="0"/>
              <a:buChar char="•"/>
            </a:pPr>
            <a:r>
              <a:rPr lang="en-US" dirty="0">
                <a:solidFill>
                  <a:schemeClr val="tx1"/>
                </a:solidFill>
              </a:rPr>
              <a:t>Has the RDN evaluated the individual’s competence to perform the assigned activity?</a:t>
            </a:r>
          </a:p>
          <a:p>
            <a:pPr marL="342900" indent="-342900">
              <a:buFont typeface="Arial" panose="020B0604020202020204" pitchFamily="34" charset="0"/>
              <a:buChar char="•"/>
            </a:pPr>
            <a:r>
              <a:rPr lang="en-US" dirty="0">
                <a:solidFill>
                  <a:schemeClr val="tx1"/>
                </a:solidFill>
              </a:rPr>
              <a:t>Have new staff, students/inters and educators been trained on when and how EHR entries are cosigned?</a:t>
            </a:r>
          </a:p>
          <a:p>
            <a:pPr marL="342900" indent="-342900">
              <a:buFont typeface="Arial" panose="020B0604020202020204" pitchFamily="34" charset="0"/>
              <a:buChar char="•"/>
            </a:pPr>
            <a:r>
              <a:rPr lang="en-US" dirty="0">
                <a:solidFill>
                  <a:schemeClr val="tx1"/>
                </a:solidFill>
              </a:rPr>
              <a:t>Has the level of access to medical records been determined as well as RDN cosignatory and documentation records?</a:t>
            </a:r>
          </a:p>
          <a:p>
            <a:pPr marL="342900" indent="-342900">
              <a:buFont typeface="Arial" panose="020B0604020202020204" pitchFamily="34" charset="0"/>
              <a:buChar char="•"/>
            </a:pPr>
            <a:r>
              <a:rPr lang="en-US" dirty="0">
                <a:solidFill>
                  <a:schemeClr val="tx1"/>
                </a:solidFill>
              </a:rPr>
              <a:t>Have the appropriate individuals within the organization such as Human Resources, Medical Records, Risk Management, Other Discipline Heads or Quality and Regulatory Compliance been consulted? </a:t>
            </a:r>
          </a:p>
          <a:p>
            <a:pPr marL="342900" indent="-342900">
              <a:buFont typeface="Arial" panose="020B0604020202020204" pitchFamily="34" charset="0"/>
              <a:buChar char="•"/>
            </a:pPr>
            <a:r>
              <a:rPr lang="en-US" dirty="0">
                <a:solidFill>
                  <a:schemeClr val="tx1"/>
                </a:solidFill>
              </a:rPr>
              <a:t>Have all appropriate accreditation standards or state or federal laws and regulations been reviewed and addressed? (</a:t>
            </a:r>
            <a:r>
              <a:rPr lang="en-US" dirty="0" err="1">
                <a:solidFill>
                  <a:schemeClr val="tx1"/>
                </a:solidFill>
              </a:rPr>
              <a:t>eg</a:t>
            </a:r>
            <a:r>
              <a:rPr lang="en-US" dirty="0">
                <a:solidFill>
                  <a:schemeClr val="tx1"/>
                </a:solidFill>
              </a:rPr>
              <a:t>, CMS definition of ‘qualified dietitian’, cosigning timeline, state licensure) </a:t>
            </a:r>
          </a:p>
        </p:txBody>
      </p:sp>
      <p:sp>
        <p:nvSpPr>
          <p:cNvPr id="2" name="TextBox 1">
            <a:extLst>
              <a:ext uri="{FF2B5EF4-FFF2-40B4-BE49-F238E27FC236}">
                <a16:creationId xmlns:a16="http://schemas.microsoft.com/office/drawing/2014/main" id="{91C783B4-9D29-C503-63D5-053247752942}"/>
              </a:ext>
            </a:extLst>
          </p:cNvPr>
          <p:cNvSpPr txBox="1"/>
          <p:nvPr/>
        </p:nvSpPr>
        <p:spPr>
          <a:xfrm>
            <a:off x="630119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4" name="Audio 3" descr="Audio speaker icon">
            <a:hlinkClick r:id="" action="ppaction://media"/>
            <a:extLst>
              <a:ext uri="{FF2B5EF4-FFF2-40B4-BE49-F238E27FC236}">
                <a16:creationId xmlns:a16="http://schemas.microsoft.com/office/drawing/2014/main" id="{DD4FFD05-924C-F639-AD58-D0B4B968163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C75D5F2-0E93-0E49-A800-B6CD9E4AB30F}"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346837971"/>
      </p:ext>
    </p:extLst>
  </p:cSld>
  <p:clrMapOvr>
    <a:masterClrMapping/>
  </p:clrMapOvr>
  <mc:AlternateContent xmlns:mc="http://schemas.openxmlformats.org/markup-compatibility/2006" xmlns:p14="http://schemas.microsoft.com/office/powerpoint/2010/main">
    <mc:Choice Requires="p14">
      <p:transition spd="slow" p14:dur="2000" advTm="53146"/>
    </mc:Choice>
    <mc:Fallback xmlns="">
      <p:transition spd="slow" advTm="531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E8D1A-2A4E-47F5-79E2-297FDDF141CE}"/>
              </a:ext>
            </a:extLst>
          </p:cNvPr>
          <p:cNvSpPr>
            <a:spLocks noGrp="1"/>
          </p:cNvSpPr>
          <p:nvPr>
            <p:ph type="title"/>
          </p:nvPr>
        </p:nvSpPr>
        <p:spPr/>
        <p:txBody>
          <a:bodyPr/>
          <a:lstStyle/>
          <a:p>
            <a:r>
              <a:rPr lang="en-US" dirty="0"/>
              <a:t>How to Cosign </a:t>
            </a:r>
          </a:p>
        </p:txBody>
      </p:sp>
      <p:sp>
        <p:nvSpPr>
          <p:cNvPr id="3" name="Text Placeholder 2">
            <a:extLst>
              <a:ext uri="{FF2B5EF4-FFF2-40B4-BE49-F238E27FC236}">
                <a16:creationId xmlns:a16="http://schemas.microsoft.com/office/drawing/2014/main" id="{7F478B69-5E13-D604-AE1A-ED5512D89D14}"/>
              </a:ext>
            </a:extLst>
          </p:cNvPr>
          <p:cNvSpPr>
            <a:spLocks noGrp="1"/>
          </p:cNvSpPr>
          <p:nvPr>
            <p:ph type="body" sz="quarter" idx="11"/>
          </p:nvPr>
        </p:nvSpPr>
        <p:spPr>
          <a:xfrm>
            <a:off x="340093" y="1384614"/>
            <a:ext cx="11511814" cy="4462760"/>
          </a:xfrm>
        </p:spPr>
        <p:txBody>
          <a:bodyPr/>
          <a:lstStyle/>
          <a:p>
            <a:r>
              <a:rPr lang="en-US" sz="2000" dirty="0"/>
              <a:t>What if there are notes to the documentation? </a:t>
            </a:r>
          </a:p>
          <a:p>
            <a:pPr marL="285750" indent="-285750">
              <a:buFont typeface="Arial" panose="020B0604020202020204" pitchFamily="34" charset="0"/>
              <a:buChar char="•"/>
            </a:pPr>
            <a:r>
              <a:rPr lang="en-US" sz="2000" dirty="0"/>
              <a:t>The cosigner may add to the notes entered by the student or intern but should not edit the notes. With a pending co-signature note in EHR, the preceptor may be able to have student/intern make a correction or include missing information if needed and then re-sign the note. </a:t>
            </a:r>
          </a:p>
          <a:p>
            <a:endParaRPr lang="en-US" sz="2000" dirty="0"/>
          </a:p>
          <a:p>
            <a:r>
              <a:rPr lang="en-US" sz="2000" dirty="0"/>
              <a:t>How to Sign? </a:t>
            </a:r>
          </a:p>
          <a:p>
            <a:pPr marL="285750" indent="-285750">
              <a:buFont typeface="Arial" panose="020B0604020202020204" pitchFamily="34" charset="0"/>
              <a:buChar char="•"/>
            </a:pPr>
            <a:r>
              <a:rPr lang="en-US" sz="2000" dirty="0"/>
              <a:t>Student/intern should cosign notes with first initial, last name, Student Dietitian or Dietetic Intern and university name (may be abbreviated) or as specified in procedure for EHR or paper chart. In EHR, it is common for student/intern to check “Cosign” button so that note is pending preceptor co-signature.</a:t>
            </a:r>
          </a:p>
          <a:p>
            <a:pPr marL="285750" indent="-285750">
              <a:buFont typeface="Arial" panose="020B0604020202020204" pitchFamily="34" charset="0"/>
              <a:buChar char="•"/>
            </a:pPr>
            <a:r>
              <a:rPr lang="en-US" sz="2000" dirty="0"/>
              <a:t>After reviewing and verifying the note, the preceptor/staff RDN signs note with first initial, last name and credentials, e.g., R. Doe, RDN. Both the student/intern and the RDN signatures will show.</a:t>
            </a:r>
          </a:p>
        </p:txBody>
      </p:sp>
      <p:sp>
        <p:nvSpPr>
          <p:cNvPr id="4" name="TextBox 3">
            <a:extLst>
              <a:ext uri="{FF2B5EF4-FFF2-40B4-BE49-F238E27FC236}">
                <a16:creationId xmlns:a16="http://schemas.microsoft.com/office/drawing/2014/main" id="{3FD67660-B6A2-7C3E-D6A3-4E7798545F41}"/>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0" name="Audio 9" descr="Audio speaker icon">
            <a:hlinkClick r:id="" action="ppaction://media"/>
            <a:extLst>
              <a:ext uri="{FF2B5EF4-FFF2-40B4-BE49-F238E27FC236}">
                <a16:creationId xmlns:a16="http://schemas.microsoft.com/office/drawing/2014/main" id="{407231CB-51FF-D0ED-6DFC-48054C09E779}"/>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02ADA64D-AFCA-5149-8A6A-1F3DC4D17089}" label="" lang="en-us" r:embed="rId5"/>
                        </p173:trackLst>
                      </p173:tracksInfo>
                    </p:ext>
                  </p14:extLst>
                </p14:media>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55566736"/>
      </p:ext>
    </p:extLst>
  </p:cSld>
  <p:clrMapOvr>
    <a:masterClrMapping/>
  </p:clrMapOvr>
  <mc:AlternateContent xmlns:mc="http://schemas.openxmlformats.org/markup-compatibility/2006" xmlns:p14="http://schemas.microsoft.com/office/powerpoint/2010/main">
    <mc:Choice Requires="p14">
      <p:transition spd="slow" p14:dur="2000" advTm="62747"/>
    </mc:Choice>
    <mc:Fallback xmlns="">
      <p:transition spd="slow" advTm="6274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F85D1C31-AD91-43D3-B678-A78E9AACE3FE}"/>
              </a:ext>
              <a:ext uri="{C183D7F6-B498-43B3-948B-1728B52AA6E4}">
                <adec:decorative xmlns:adec="http://schemas.microsoft.com/office/drawing/2017/decorative" val="1"/>
              </a:ext>
            </a:extLst>
          </p:cNvPr>
          <p:cNvSpPr/>
          <p:nvPr/>
        </p:nvSpPr>
        <p:spPr>
          <a:xfrm>
            <a:off x="7555158" y="-25089"/>
            <a:ext cx="4660415"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6">
            <a:extLst>
              <a:ext uri="{FF2B5EF4-FFF2-40B4-BE49-F238E27FC236}">
                <a16:creationId xmlns:a16="http://schemas.microsoft.com/office/drawing/2014/main" id="{FDB23240-E8BF-49F0-A7F6-E76A62B61C9E}"/>
              </a:ext>
            </a:extLst>
          </p:cNvPr>
          <p:cNvSpPr>
            <a:spLocks noGrp="1"/>
          </p:cNvSpPr>
          <p:nvPr>
            <p:ph type="title"/>
          </p:nvPr>
        </p:nvSpPr>
        <p:spPr>
          <a:xfrm>
            <a:off x="340093" y="527632"/>
            <a:ext cx="11511814" cy="492443"/>
          </a:xfrm>
        </p:spPr>
        <p:txBody>
          <a:bodyPr vert="horz"/>
          <a:lstStyle/>
          <a:p>
            <a:r>
              <a:rPr lang="en-GB" dirty="0"/>
              <a:t>When to Cosign</a:t>
            </a:r>
          </a:p>
        </p:txBody>
      </p:sp>
      <p:sp>
        <p:nvSpPr>
          <p:cNvPr id="13" name="TextBox 12">
            <a:extLst>
              <a:ext uri="{FF2B5EF4-FFF2-40B4-BE49-F238E27FC236}">
                <a16:creationId xmlns:a16="http://schemas.microsoft.com/office/drawing/2014/main" id="{930D3D56-DE9B-2487-4B4E-93634B82D744}"/>
              </a:ext>
            </a:extLst>
          </p:cNvPr>
          <p:cNvSpPr txBox="1"/>
          <p:nvPr/>
        </p:nvSpPr>
        <p:spPr>
          <a:xfrm>
            <a:off x="7752739" y="145313"/>
            <a:ext cx="4374365" cy="96827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64770" marR="0">
              <a:lnSpc>
                <a:spcPct val="107000"/>
              </a:lnSpc>
              <a:spcBef>
                <a:spcPts val="0"/>
              </a:spcBef>
              <a:spcAft>
                <a:spcPts val="0"/>
              </a:spcAft>
            </a:pPr>
            <a:r>
              <a:rPr lang="en-US" sz="1800" kern="0" spc="-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The</a:t>
            </a:r>
            <a:r>
              <a:rPr lang="en-US" sz="1800" kern="0" spc="-3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individual</a:t>
            </a:r>
            <a:r>
              <a:rPr lang="en-US" sz="1800" kern="0" spc="-1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u="sng" kern="0" dirty="0">
                <a:solidFill>
                  <a:srgbClr val="343131"/>
                </a:solidFill>
                <a:effectLst/>
                <a:uFill>
                  <a:solidFill>
                    <a:srgbClr val="343131"/>
                  </a:solidFill>
                </a:uFill>
                <a:latin typeface="Calibri" panose="020F0502020204030204" pitchFamily="34" charset="0"/>
                <a:ea typeface="Calibri" panose="020F0502020204030204" pitchFamily="34" charset="0"/>
                <a:cs typeface="Times New Roman" panose="02020603050405020304" pitchFamily="18" charset="0"/>
              </a:rPr>
              <a:t>not</a:t>
            </a:r>
            <a:r>
              <a:rPr lang="en-US" sz="1800" u="sng" kern="0" spc="-30" dirty="0">
                <a:solidFill>
                  <a:srgbClr val="343131"/>
                </a:solidFill>
                <a:effectLst/>
                <a:uFill>
                  <a:solidFill>
                    <a:srgbClr val="343131"/>
                  </a:solidFill>
                </a:uFill>
                <a:latin typeface="Calibri" panose="020F0502020204030204" pitchFamily="34" charset="0"/>
                <a:ea typeface="Calibri" panose="020F0502020204030204" pitchFamily="34" charset="0"/>
                <a:cs typeface="Times New Roman" panose="02020603050405020304" pitchFamily="18" charset="0"/>
              </a:rPr>
              <a:t> </a:t>
            </a:r>
            <a:r>
              <a:rPr lang="en-US" sz="1800" u="sng" kern="0" spc="-5" dirty="0">
                <a:solidFill>
                  <a:srgbClr val="343131"/>
                </a:solidFill>
                <a:effectLst/>
                <a:uFill>
                  <a:solidFill>
                    <a:srgbClr val="343131"/>
                  </a:solidFill>
                </a:uFill>
                <a:latin typeface="Calibri" panose="020F0502020204030204" pitchFamily="34" charset="0"/>
                <a:ea typeface="Calibri" panose="020F0502020204030204" pitchFamily="34" charset="0"/>
                <a:cs typeface="Times New Roman" panose="02020603050405020304" pitchFamily="18" charset="0"/>
              </a:rPr>
              <a:t>yet</a:t>
            </a:r>
            <a:r>
              <a:rPr lang="en-US" sz="1800" u="sng" kern="0" spc="-20" dirty="0">
                <a:solidFill>
                  <a:srgbClr val="343131"/>
                </a:solidFill>
                <a:effectLst/>
                <a:uFill>
                  <a:solidFill>
                    <a:srgbClr val="343131"/>
                  </a:solidFill>
                </a:uFill>
                <a:latin typeface="Calibri" panose="020F0502020204030204" pitchFamily="34" charset="0"/>
                <a:ea typeface="Calibri" panose="020F0502020204030204" pitchFamily="34" charset="0"/>
                <a:cs typeface="Times New Roman" panose="02020603050405020304" pitchFamily="18" charset="0"/>
              </a:rPr>
              <a:t> </a:t>
            </a:r>
            <a:r>
              <a:rPr lang="en-US" sz="1800" kern="0" spc="-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registered</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spc="-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and/or</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licensed,</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as</a:t>
            </a:r>
            <a:r>
              <a:rPr lang="en-US" sz="1800" kern="0" spc="-3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applicable,</a:t>
            </a:r>
            <a:r>
              <a:rPr lang="en-US" sz="1800" kern="0" spc="-3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spc="-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should</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always</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spc="-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work</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under</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the</a:t>
            </a:r>
            <a:r>
              <a:rPr lang="en-US" sz="1800" kern="0" spc="-3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clinical </a:t>
            </a:r>
            <a:r>
              <a:rPr lang="en-US" sz="1800" kern="0" spc="-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supervision</a:t>
            </a:r>
            <a:r>
              <a:rPr lang="en-US" sz="1800" kern="0" spc="-2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of</a:t>
            </a:r>
            <a:r>
              <a:rPr lang="en-US" sz="1800" kern="0" spc="-3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the</a:t>
            </a:r>
            <a:r>
              <a:rPr lang="en-US" sz="1800" kern="0" spc="-35"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kern="0" dirty="0">
                <a:solidFill>
                  <a:srgbClr val="343131"/>
                </a:solidFill>
                <a:effectLst/>
                <a:latin typeface="Calibri" panose="020F0502020204030204" pitchFamily="34" charset="0"/>
                <a:ea typeface="Calibri" panose="020F0502020204030204" pitchFamily="34" charset="0"/>
                <a:cs typeface="Times New Roman" panose="02020603050405020304" pitchFamily="18" charset="0"/>
              </a:rPr>
              <a:t>RDN.</a:t>
            </a:r>
            <a:endParaRPr lang="en-US"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85EB05CA-18C1-480A-8397-2923C346CAB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10974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3" name="Object 2" hidden="1">
                        <a:extLst>
                          <a:ext uri="{FF2B5EF4-FFF2-40B4-BE49-F238E27FC236}">
                            <a16:creationId xmlns:a16="http://schemas.microsoft.com/office/drawing/2014/main" id="{85EB05CA-18C1-480A-8397-2923C346CA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4" name="Group 13" descr="When to Cosign table header">
            <a:extLst>
              <a:ext uri="{FF2B5EF4-FFF2-40B4-BE49-F238E27FC236}">
                <a16:creationId xmlns:a16="http://schemas.microsoft.com/office/drawing/2014/main" id="{1AD2D9D9-F20F-1E9A-624A-7BD272A88509}"/>
              </a:ext>
            </a:extLst>
          </p:cNvPr>
          <p:cNvGrpSpPr/>
          <p:nvPr/>
        </p:nvGrpSpPr>
        <p:grpSpPr>
          <a:xfrm>
            <a:off x="3212957" y="1322097"/>
            <a:ext cx="8638950" cy="424732"/>
            <a:chOff x="3212957" y="1322097"/>
            <a:chExt cx="8638950" cy="424732"/>
          </a:xfrm>
        </p:grpSpPr>
        <p:sp>
          <p:nvSpPr>
            <p:cNvPr id="87" name="Text Placeholder 51">
              <a:extLst>
                <a:ext uri="{FF2B5EF4-FFF2-40B4-BE49-F238E27FC236}">
                  <a16:creationId xmlns:a16="http://schemas.microsoft.com/office/drawing/2014/main" id="{0CE0433B-ECF6-4D5F-B7D6-25E874E9703B}"/>
                </a:ext>
              </a:extLst>
            </p:cNvPr>
            <p:cNvSpPr txBox="1">
              <a:spLocks/>
            </p:cNvSpPr>
            <p:nvPr/>
          </p:nvSpPr>
          <p:spPr>
            <a:xfrm>
              <a:off x="3212957" y="1322097"/>
              <a:ext cx="4067003" cy="424732"/>
            </a:xfrm>
            <a:prstGeom prst="rect">
              <a:avLst/>
            </a:prstGeom>
            <a:solidFill>
              <a:schemeClr val="bg2">
                <a:lumMod val="90000"/>
              </a:schemeClr>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a:t>Cosign NOT Required</a:t>
              </a:r>
            </a:p>
          </p:txBody>
        </p:sp>
        <p:sp>
          <p:nvSpPr>
            <p:cNvPr id="88" name="Text Placeholder 51">
              <a:extLst>
                <a:ext uri="{FF2B5EF4-FFF2-40B4-BE49-F238E27FC236}">
                  <a16:creationId xmlns:a16="http://schemas.microsoft.com/office/drawing/2014/main" id="{89F601BA-EFD2-43B6-A33E-BBD7FE929556}"/>
                </a:ext>
              </a:extLst>
            </p:cNvPr>
            <p:cNvSpPr txBox="1">
              <a:spLocks/>
            </p:cNvSpPr>
            <p:nvPr/>
          </p:nvSpPr>
          <p:spPr>
            <a:xfrm>
              <a:off x="7784904" y="1322097"/>
              <a:ext cx="4067003" cy="424732"/>
            </a:xfrm>
            <a:prstGeom prst="rect">
              <a:avLst/>
            </a:prstGeom>
            <a:solidFill>
              <a:schemeClr val="accent6"/>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a:solidFill>
                    <a:schemeClr val="bg1"/>
                  </a:solidFill>
                </a:rPr>
                <a:t>Cosign Required</a:t>
              </a:r>
            </a:p>
          </p:txBody>
        </p:sp>
      </p:grpSp>
      <p:grpSp>
        <p:nvGrpSpPr>
          <p:cNvPr id="15" name="Group 14" descr="When to Cosign table row one">
            <a:extLst>
              <a:ext uri="{FF2B5EF4-FFF2-40B4-BE49-F238E27FC236}">
                <a16:creationId xmlns:a16="http://schemas.microsoft.com/office/drawing/2014/main" id="{A283D4C6-B6F4-B7F6-8212-ACCEFD8A2406}"/>
              </a:ext>
            </a:extLst>
          </p:cNvPr>
          <p:cNvGrpSpPr/>
          <p:nvPr/>
        </p:nvGrpSpPr>
        <p:grpSpPr>
          <a:xfrm>
            <a:off x="340093" y="1746829"/>
            <a:ext cx="11511814" cy="599517"/>
            <a:chOff x="340093" y="1746829"/>
            <a:chExt cx="11511814" cy="599517"/>
          </a:xfrm>
        </p:grpSpPr>
        <p:sp>
          <p:nvSpPr>
            <p:cNvPr id="54" name="Text Placeholder 51">
              <a:extLst>
                <a:ext uri="{FF2B5EF4-FFF2-40B4-BE49-F238E27FC236}">
                  <a16:creationId xmlns:a16="http://schemas.microsoft.com/office/drawing/2014/main" id="{E277EB02-10A3-4FE9-B7A2-C52A4C749A0E}"/>
                </a:ext>
              </a:extLst>
            </p:cNvPr>
            <p:cNvSpPr txBox="1">
              <a:spLocks/>
            </p:cNvSpPr>
            <p:nvPr/>
          </p:nvSpPr>
          <p:spPr>
            <a:xfrm>
              <a:off x="340093" y="1746829"/>
              <a:ext cx="2595118" cy="537472"/>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Dietetic Extern</a:t>
              </a:r>
            </a:p>
          </p:txBody>
        </p:sp>
        <p:pic>
          <p:nvPicPr>
            <p:cNvPr id="5" name="Graphic 4" descr="Checkmark with solid fill">
              <a:extLst>
                <a:ext uri="{FF2B5EF4-FFF2-40B4-BE49-F238E27FC236}">
                  <a16:creationId xmlns:a16="http://schemas.microsoft.com/office/drawing/2014/main" id="{8651A463-FA3E-43A3-1F5C-869224441D07}"/>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9591850" y="1874906"/>
              <a:ext cx="453106" cy="453106"/>
            </a:xfrm>
            <a:prstGeom prst="rect">
              <a:avLst/>
            </a:prstGeom>
          </p:spPr>
        </p:pic>
        <p:cxnSp>
          <p:nvCxnSpPr>
            <p:cNvPr id="99" name="Straight Connector 98">
              <a:extLst>
                <a:ext uri="{FF2B5EF4-FFF2-40B4-BE49-F238E27FC236}">
                  <a16:creationId xmlns:a16="http://schemas.microsoft.com/office/drawing/2014/main" id="{1F7F14E1-3244-41CB-92CD-2EA42EFC3C32}"/>
                </a:ext>
                <a:ext uri="{C183D7F6-B498-43B3-948B-1728B52AA6E4}">
                  <adec:decorative xmlns:adec="http://schemas.microsoft.com/office/drawing/2017/decorative" val="1"/>
                </a:ext>
              </a:extLst>
            </p:cNvPr>
            <p:cNvCxnSpPr>
              <a:cxnSpLocks/>
            </p:cNvCxnSpPr>
            <p:nvPr/>
          </p:nvCxnSpPr>
          <p:spPr>
            <a:xfrm>
              <a:off x="3212958" y="2346346"/>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A40C3B5-52CF-4B8B-AFC4-0C7FBF2D015C}"/>
                </a:ext>
                <a:ext uri="{C183D7F6-B498-43B3-948B-1728B52AA6E4}">
                  <adec:decorative xmlns:adec="http://schemas.microsoft.com/office/drawing/2017/decorative" val="1"/>
                </a:ext>
              </a:extLst>
            </p:cNvPr>
            <p:cNvCxnSpPr>
              <a:cxnSpLocks/>
            </p:cNvCxnSpPr>
            <p:nvPr/>
          </p:nvCxnSpPr>
          <p:spPr>
            <a:xfrm>
              <a:off x="7784904" y="2346346"/>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6" name="Group 15" descr="When to Cosign table row two">
            <a:extLst>
              <a:ext uri="{FF2B5EF4-FFF2-40B4-BE49-F238E27FC236}">
                <a16:creationId xmlns:a16="http://schemas.microsoft.com/office/drawing/2014/main" id="{815E7A11-07A8-0E44-883B-CCC510BF3091}"/>
              </a:ext>
            </a:extLst>
          </p:cNvPr>
          <p:cNvGrpSpPr/>
          <p:nvPr/>
        </p:nvGrpSpPr>
        <p:grpSpPr>
          <a:xfrm>
            <a:off x="340093" y="2388303"/>
            <a:ext cx="11511814" cy="506865"/>
            <a:chOff x="340093" y="2388303"/>
            <a:chExt cx="11511814" cy="506865"/>
          </a:xfrm>
        </p:grpSpPr>
        <p:sp>
          <p:nvSpPr>
            <p:cNvPr id="60" name="Text Placeholder 51">
              <a:extLst>
                <a:ext uri="{FF2B5EF4-FFF2-40B4-BE49-F238E27FC236}">
                  <a16:creationId xmlns:a16="http://schemas.microsoft.com/office/drawing/2014/main" id="{656E58F4-D90A-4736-AD5E-73B52D906C47}"/>
                </a:ext>
              </a:extLst>
            </p:cNvPr>
            <p:cNvSpPr txBox="1">
              <a:spLocks/>
            </p:cNvSpPr>
            <p:nvPr/>
          </p:nvSpPr>
          <p:spPr>
            <a:xfrm>
              <a:off x="340093" y="2408391"/>
              <a:ext cx="2595118" cy="424732"/>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Dietetic Intern</a:t>
              </a:r>
            </a:p>
          </p:txBody>
        </p:sp>
        <p:pic>
          <p:nvPicPr>
            <p:cNvPr id="6" name="Graphic 5" descr="Checkmark with solid fill">
              <a:extLst>
                <a:ext uri="{FF2B5EF4-FFF2-40B4-BE49-F238E27FC236}">
                  <a16:creationId xmlns:a16="http://schemas.microsoft.com/office/drawing/2014/main" id="{369C7B40-C469-896B-051D-5430E1FB0B29}"/>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9576442" y="2388303"/>
              <a:ext cx="453106" cy="453106"/>
            </a:xfrm>
            <a:prstGeom prst="rect">
              <a:avLst/>
            </a:prstGeom>
          </p:spPr>
        </p:pic>
        <p:cxnSp>
          <p:nvCxnSpPr>
            <p:cNvPr id="101" name="Straight Connector 100">
              <a:extLst>
                <a:ext uri="{FF2B5EF4-FFF2-40B4-BE49-F238E27FC236}">
                  <a16:creationId xmlns:a16="http://schemas.microsoft.com/office/drawing/2014/main" id="{725A5818-C04E-472F-B48E-EBCB646C49AB}"/>
                </a:ext>
                <a:ext uri="{C183D7F6-B498-43B3-948B-1728B52AA6E4}">
                  <adec:decorative xmlns:adec="http://schemas.microsoft.com/office/drawing/2017/decorative" val="1"/>
                </a:ext>
              </a:extLst>
            </p:cNvPr>
            <p:cNvCxnSpPr>
              <a:cxnSpLocks/>
            </p:cNvCxnSpPr>
            <p:nvPr/>
          </p:nvCxnSpPr>
          <p:spPr>
            <a:xfrm>
              <a:off x="3212958" y="2895168"/>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C377F79-4CE9-451A-936C-D41AAF227E06}"/>
                </a:ext>
                <a:ext uri="{C183D7F6-B498-43B3-948B-1728B52AA6E4}">
                  <adec:decorative xmlns:adec="http://schemas.microsoft.com/office/drawing/2017/decorative" val="1"/>
                </a:ext>
              </a:extLst>
            </p:cNvPr>
            <p:cNvCxnSpPr>
              <a:cxnSpLocks/>
            </p:cNvCxnSpPr>
            <p:nvPr/>
          </p:nvCxnSpPr>
          <p:spPr>
            <a:xfrm>
              <a:off x="7784904" y="2895168"/>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7" name="Group 16" descr="When to Cosign table row three&#10;">
            <a:extLst>
              <a:ext uri="{FF2B5EF4-FFF2-40B4-BE49-F238E27FC236}">
                <a16:creationId xmlns:a16="http://schemas.microsoft.com/office/drawing/2014/main" id="{04EC31F3-2E96-765F-D1B0-1634F37D4B64}"/>
              </a:ext>
            </a:extLst>
          </p:cNvPr>
          <p:cNvGrpSpPr/>
          <p:nvPr/>
        </p:nvGrpSpPr>
        <p:grpSpPr>
          <a:xfrm>
            <a:off x="340093" y="2944786"/>
            <a:ext cx="11511814" cy="499204"/>
            <a:chOff x="340093" y="2944786"/>
            <a:chExt cx="11511814" cy="499204"/>
          </a:xfrm>
        </p:grpSpPr>
        <p:sp>
          <p:nvSpPr>
            <p:cNvPr id="64" name="Text Placeholder 51">
              <a:extLst>
                <a:ext uri="{FF2B5EF4-FFF2-40B4-BE49-F238E27FC236}">
                  <a16:creationId xmlns:a16="http://schemas.microsoft.com/office/drawing/2014/main" id="{474724F9-02E5-4760-BC84-AAA62AB0A3D2}"/>
                </a:ext>
              </a:extLst>
            </p:cNvPr>
            <p:cNvSpPr txBox="1">
              <a:spLocks/>
            </p:cNvSpPr>
            <p:nvPr/>
          </p:nvSpPr>
          <p:spPr>
            <a:xfrm>
              <a:off x="340093" y="2957213"/>
              <a:ext cx="2595118" cy="424732"/>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ISPP Intern</a:t>
              </a:r>
            </a:p>
          </p:txBody>
        </p:sp>
        <p:pic>
          <p:nvPicPr>
            <p:cNvPr id="135" name="Graphic 134" descr="Checkmark with solid fill">
              <a:extLst>
                <a:ext uri="{FF2B5EF4-FFF2-40B4-BE49-F238E27FC236}">
                  <a16:creationId xmlns:a16="http://schemas.microsoft.com/office/drawing/2014/main" id="{6E0965D3-2D19-49FF-935B-406C7F36702A}"/>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9591852" y="2944786"/>
              <a:ext cx="453106" cy="453106"/>
            </a:xfrm>
            <a:prstGeom prst="rect">
              <a:avLst/>
            </a:prstGeom>
          </p:spPr>
        </p:pic>
        <p:cxnSp>
          <p:nvCxnSpPr>
            <p:cNvPr id="102" name="Straight Connector 101">
              <a:extLst>
                <a:ext uri="{FF2B5EF4-FFF2-40B4-BE49-F238E27FC236}">
                  <a16:creationId xmlns:a16="http://schemas.microsoft.com/office/drawing/2014/main" id="{1A0616B6-60CA-4E7F-9DE1-029542FC1887}"/>
                </a:ext>
                <a:ext uri="{C183D7F6-B498-43B3-948B-1728B52AA6E4}">
                  <adec:decorative xmlns:adec="http://schemas.microsoft.com/office/drawing/2017/decorative" val="1"/>
                </a:ext>
              </a:extLst>
            </p:cNvPr>
            <p:cNvCxnSpPr>
              <a:cxnSpLocks/>
            </p:cNvCxnSpPr>
            <p:nvPr/>
          </p:nvCxnSpPr>
          <p:spPr>
            <a:xfrm>
              <a:off x="3212958" y="3443990"/>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A18112D-8C7F-45FE-B281-30AAECCDE220}"/>
                </a:ext>
                <a:ext uri="{C183D7F6-B498-43B3-948B-1728B52AA6E4}">
                  <adec:decorative xmlns:adec="http://schemas.microsoft.com/office/drawing/2017/decorative" val="1"/>
                </a:ext>
              </a:extLst>
            </p:cNvPr>
            <p:cNvCxnSpPr>
              <a:cxnSpLocks/>
            </p:cNvCxnSpPr>
            <p:nvPr/>
          </p:nvCxnSpPr>
          <p:spPr>
            <a:xfrm>
              <a:off x="7784904" y="3443990"/>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 name="Group 17" descr="When to Cosign table row four">
            <a:extLst>
              <a:ext uri="{FF2B5EF4-FFF2-40B4-BE49-F238E27FC236}">
                <a16:creationId xmlns:a16="http://schemas.microsoft.com/office/drawing/2014/main" id="{A198FB4C-CEEB-6F7B-6D64-622461A9CA37}"/>
              </a:ext>
            </a:extLst>
          </p:cNvPr>
          <p:cNvGrpSpPr/>
          <p:nvPr/>
        </p:nvGrpSpPr>
        <p:grpSpPr>
          <a:xfrm>
            <a:off x="340093" y="3493607"/>
            <a:ext cx="9689455" cy="499205"/>
            <a:chOff x="340093" y="3493607"/>
            <a:chExt cx="9689455" cy="499205"/>
          </a:xfrm>
        </p:grpSpPr>
        <p:sp>
          <p:nvSpPr>
            <p:cNvPr id="68" name="Text Placeholder 51">
              <a:extLst>
                <a:ext uri="{FF2B5EF4-FFF2-40B4-BE49-F238E27FC236}">
                  <a16:creationId xmlns:a16="http://schemas.microsoft.com/office/drawing/2014/main" id="{21C49EB2-C009-460B-AA64-FD05E3D7ADC3}"/>
                </a:ext>
              </a:extLst>
            </p:cNvPr>
            <p:cNvSpPr txBox="1">
              <a:spLocks/>
            </p:cNvSpPr>
            <p:nvPr/>
          </p:nvSpPr>
          <p:spPr>
            <a:xfrm>
              <a:off x="340093" y="3506035"/>
              <a:ext cx="2595118" cy="424732"/>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Student</a:t>
              </a:r>
            </a:p>
          </p:txBody>
        </p:sp>
        <p:pic>
          <p:nvPicPr>
            <p:cNvPr id="4" name="Graphic 3" descr="Checkmark with solid fill">
              <a:extLst>
                <a:ext uri="{FF2B5EF4-FFF2-40B4-BE49-F238E27FC236}">
                  <a16:creationId xmlns:a16="http://schemas.microsoft.com/office/drawing/2014/main" id="{A839C2DE-4AB4-8C03-8CCC-1ADA002A7EDF}"/>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9576442" y="3493607"/>
              <a:ext cx="453106" cy="453106"/>
            </a:xfrm>
            <a:prstGeom prst="rect">
              <a:avLst/>
            </a:prstGeom>
          </p:spPr>
        </p:pic>
        <p:cxnSp>
          <p:nvCxnSpPr>
            <p:cNvPr id="103" name="Straight Connector 102">
              <a:extLst>
                <a:ext uri="{FF2B5EF4-FFF2-40B4-BE49-F238E27FC236}">
                  <a16:creationId xmlns:a16="http://schemas.microsoft.com/office/drawing/2014/main" id="{F07E638E-B828-4ED8-8056-9377EB5A913C}"/>
                </a:ext>
                <a:ext uri="{C183D7F6-B498-43B3-948B-1728B52AA6E4}">
                  <adec:decorative xmlns:adec="http://schemas.microsoft.com/office/drawing/2017/decorative" val="1"/>
                </a:ext>
              </a:extLst>
            </p:cNvPr>
            <p:cNvCxnSpPr>
              <a:cxnSpLocks/>
            </p:cNvCxnSpPr>
            <p:nvPr/>
          </p:nvCxnSpPr>
          <p:spPr>
            <a:xfrm>
              <a:off x="3212958" y="3992812"/>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17" name="Straight Connector 116">
            <a:extLst>
              <a:ext uri="{FF2B5EF4-FFF2-40B4-BE49-F238E27FC236}">
                <a16:creationId xmlns:a16="http://schemas.microsoft.com/office/drawing/2014/main" id="{04D533DD-6A71-4014-85FC-69FE3E230011}"/>
              </a:ext>
              <a:ext uri="{C183D7F6-B498-43B3-948B-1728B52AA6E4}">
                <adec:decorative xmlns:adec="http://schemas.microsoft.com/office/drawing/2017/decorative" val="1"/>
              </a:ext>
            </a:extLst>
          </p:cNvPr>
          <p:cNvCxnSpPr>
            <a:cxnSpLocks/>
          </p:cNvCxnSpPr>
          <p:nvPr/>
        </p:nvCxnSpPr>
        <p:spPr>
          <a:xfrm>
            <a:off x="7784904" y="3992812"/>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 name="Group 19" descr="When to Cosign table row five">
            <a:extLst>
              <a:ext uri="{FF2B5EF4-FFF2-40B4-BE49-F238E27FC236}">
                <a16:creationId xmlns:a16="http://schemas.microsoft.com/office/drawing/2014/main" id="{C79957C5-1964-2626-B6C8-66D051B881AA}"/>
              </a:ext>
            </a:extLst>
          </p:cNvPr>
          <p:cNvGrpSpPr/>
          <p:nvPr/>
        </p:nvGrpSpPr>
        <p:grpSpPr>
          <a:xfrm>
            <a:off x="340093" y="4054856"/>
            <a:ext cx="9704863" cy="622681"/>
            <a:chOff x="340093" y="4054856"/>
            <a:chExt cx="9704863" cy="622681"/>
          </a:xfrm>
        </p:grpSpPr>
        <p:sp>
          <p:nvSpPr>
            <p:cNvPr id="72" name="Text Placeholder 51">
              <a:extLst>
                <a:ext uri="{FF2B5EF4-FFF2-40B4-BE49-F238E27FC236}">
                  <a16:creationId xmlns:a16="http://schemas.microsoft.com/office/drawing/2014/main" id="{8ECB78D4-E98D-49FD-8735-0B7D7978547A}"/>
                </a:ext>
              </a:extLst>
            </p:cNvPr>
            <p:cNvSpPr txBox="1">
              <a:spLocks/>
            </p:cNvSpPr>
            <p:nvPr/>
          </p:nvSpPr>
          <p:spPr>
            <a:xfrm>
              <a:off x="340093" y="4054856"/>
              <a:ext cx="2595118" cy="622681"/>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Registration Eligible to become an RDN</a:t>
              </a:r>
            </a:p>
          </p:txBody>
        </p:sp>
        <p:pic>
          <p:nvPicPr>
            <p:cNvPr id="126" name="Graphic 125" descr="Checkmark with solid fill">
              <a:extLst>
                <a:ext uri="{FF2B5EF4-FFF2-40B4-BE49-F238E27FC236}">
                  <a16:creationId xmlns:a16="http://schemas.microsoft.com/office/drawing/2014/main" id="{7F46834F-8540-49BD-8E95-8295790F7849}"/>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9591850" y="4154814"/>
              <a:ext cx="453106" cy="453106"/>
            </a:xfrm>
            <a:prstGeom prst="rect">
              <a:avLst/>
            </a:prstGeom>
          </p:spPr>
        </p:pic>
        <p:cxnSp>
          <p:nvCxnSpPr>
            <p:cNvPr id="104" name="Straight Connector 103">
              <a:extLst>
                <a:ext uri="{FF2B5EF4-FFF2-40B4-BE49-F238E27FC236}">
                  <a16:creationId xmlns:a16="http://schemas.microsoft.com/office/drawing/2014/main" id="{B2BA7F9A-07F5-4F6E-9709-9FB8C717CC0C}"/>
                </a:ext>
                <a:ext uri="{C183D7F6-B498-43B3-948B-1728B52AA6E4}">
                  <adec:decorative xmlns:adec="http://schemas.microsoft.com/office/drawing/2017/decorative" val="1"/>
                </a:ext>
              </a:extLst>
            </p:cNvPr>
            <p:cNvCxnSpPr>
              <a:cxnSpLocks/>
            </p:cNvCxnSpPr>
            <p:nvPr/>
          </p:nvCxnSpPr>
          <p:spPr>
            <a:xfrm>
              <a:off x="3211684" y="4677537"/>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18" name="Straight Connector 117">
            <a:extLst>
              <a:ext uri="{FF2B5EF4-FFF2-40B4-BE49-F238E27FC236}">
                <a16:creationId xmlns:a16="http://schemas.microsoft.com/office/drawing/2014/main" id="{6EE1C768-F6E7-4604-91CC-D658041DF010}"/>
              </a:ext>
              <a:ext uri="{C183D7F6-B498-43B3-948B-1728B52AA6E4}">
                <adec:decorative xmlns:adec="http://schemas.microsoft.com/office/drawing/2017/decorative" val="1"/>
              </a:ext>
            </a:extLst>
          </p:cNvPr>
          <p:cNvCxnSpPr>
            <a:cxnSpLocks/>
          </p:cNvCxnSpPr>
          <p:nvPr/>
        </p:nvCxnSpPr>
        <p:spPr>
          <a:xfrm>
            <a:off x="7784902" y="4677537"/>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1" name="Group 20" descr="When to Cosign table row six">
            <a:extLst>
              <a:ext uri="{FF2B5EF4-FFF2-40B4-BE49-F238E27FC236}">
                <a16:creationId xmlns:a16="http://schemas.microsoft.com/office/drawing/2014/main" id="{67F949AA-238D-9765-1AD5-96B1C70281CB}"/>
              </a:ext>
            </a:extLst>
          </p:cNvPr>
          <p:cNvGrpSpPr/>
          <p:nvPr/>
        </p:nvGrpSpPr>
        <p:grpSpPr>
          <a:xfrm>
            <a:off x="340093" y="4816041"/>
            <a:ext cx="9704863" cy="687322"/>
            <a:chOff x="340093" y="4816041"/>
            <a:chExt cx="9704863" cy="687322"/>
          </a:xfrm>
        </p:grpSpPr>
        <p:sp>
          <p:nvSpPr>
            <p:cNvPr id="76" name="Text Placeholder 51">
              <a:extLst>
                <a:ext uri="{FF2B5EF4-FFF2-40B4-BE49-F238E27FC236}">
                  <a16:creationId xmlns:a16="http://schemas.microsoft.com/office/drawing/2014/main" id="{96B8DAA8-975B-4022-BE29-4F14598BF207}"/>
                </a:ext>
              </a:extLst>
            </p:cNvPr>
            <p:cNvSpPr txBox="1">
              <a:spLocks/>
            </p:cNvSpPr>
            <p:nvPr/>
          </p:nvSpPr>
          <p:spPr>
            <a:xfrm>
              <a:off x="340093" y="4816041"/>
              <a:ext cx="2595118" cy="687322"/>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Registration Eligible to become an NDTR</a:t>
              </a:r>
            </a:p>
          </p:txBody>
        </p:sp>
        <p:pic>
          <p:nvPicPr>
            <p:cNvPr id="2" name="Graphic 1" descr="Checkmark with solid fill">
              <a:extLst>
                <a:ext uri="{FF2B5EF4-FFF2-40B4-BE49-F238E27FC236}">
                  <a16:creationId xmlns:a16="http://schemas.microsoft.com/office/drawing/2014/main" id="{6AB10575-B1EC-41DE-5DB8-F50A6FFB937E}"/>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9591850" y="4856491"/>
              <a:ext cx="453106" cy="453106"/>
            </a:xfrm>
            <a:prstGeom prst="rect">
              <a:avLst/>
            </a:prstGeom>
          </p:spPr>
        </p:pic>
      </p:grpSp>
      <p:cxnSp>
        <p:nvCxnSpPr>
          <p:cNvPr id="105" name="Straight Connector 104">
            <a:extLst>
              <a:ext uri="{FF2B5EF4-FFF2-40B4-BE49-F238E27FC236}">
                <a16:creationId xmlns:a16="http://schemas.microsoft.com/office/drawing/2014/main" id="{B19CF8EA-C5AA-4517-86B6-C4308CBDD408}"/>
              </a:ext>
              <a:ext uri="{C183D7F6-B498-43B3-948B-1728B52AA6E4}">
                <adec:decorative xmlns:adec="http://schemas.microsoft.com/office/drawing/2017/decorative" val="1"/>
              </a:ext>
            </a:extLst>
          </p:cNvPr>
          <p:cNvCxnSpPr>
            <a:cxnSpLocks/>
          </p:cNvCxnSpPr>
          <p:nvPr/>
        </p:nvCxnSpPr>
        <p:spPr>
          <a:xfrm>
            <a:off x="3211684" y="5379214"/>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8D64F1A-CC79-FCE1-2098-294B4967A63A}"/>
              </a:ext>
              <a:ext uri="{C183D7F6-B498-43B3-948B-1728B52AA6E4}">
                <adec:decorative xmlns:adec="http://schemas.microsoft.com/office/drawing/2017/decorative" val="1"/>
              </a:ext>
            </a:extLst>
          </p:cNvPr>
          <p:cNvCxnSpPr>
            <a:cxnSpLocks/>
          </p:cNvCxnSpPr>
          <p:nvPr/>
        </p:nvCxnSpPr>
        <p:spPr>
          <a:xfrm>
            <a:off x="7769493" y="6157256"/>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2F5FAC-95A9-482A-9A99-B8D21E01DDCF}"/>
              </a:ext>
              <a:ext uri="{C183D7F6-B498-43B3-948B-1728B52AA6E4}">
                <adec:decorative xmlns:adec="http://schemas.microsoft.com/office/drawing/2017/decorative" val="1"/>
              </a:ext>
            </a:extLst>
          </p:cNvPr>
          <p:cNvCxnSpPr>
            <a:cxnSpLocks/>
          </p:cNvCxnSpPr>
          <p:nvPr/>
        </p:nvCxnSpPr>
        <p:spPr>
          <a:xfrm>
            <a:off x="7784904" y="5379214"/>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9" name="Audio 18" descr="Audio speaker icon">
            <a:hlinkClick r:id="" action="ppaction://media"/>
            <a:extLst>
              <a:ext uri="{FF2B5EF4-FFF2-40B4-BE49-F238E27FC236}">
                <a16:creationId xmlns:a16="http://schemas.microsoft.com/office/drawing/2014/main" id="{DAC20127-2243-8168-9670-715AA6710B58}"/>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FD139828-2E2A-054A-92DD-9680A1D45364}" label="" lang="en-us" r:embed="rId9"/>
                        </p173:trackLst>
                      </p173:tracksInfo>
                    </p:ext>
                  </p14:extLst>
                </p14:media>
              </p:ext>
            </p:extLst>
          </p:nvPr>
        </p:nvPicPr>
        <p:blipFill>
          <a:blip r:embed="rId10"/>
          <a:srcRect l="-118750" t="-118750" r="-118750" b="-118750"/>
          <a:stretch>
            <a:fillRect/>
          </a:stretch>
        </p:blipFill>
        <p:spPr>
          <a:xfrm>
            <a:off x="10052304" y="4718304"/>
            <a:ext cx="2057400" cy="2057400"/>
          </a:xfrm>
          <a:prstGeom prst="ellipse">
            <a:avLst/>
          </a:prstGeom>
        </p:spPr>
      </p:pic>
      <p:grpSp>
        <p:nvGrpSpPr>
          <p:cNvPr id="22" name="Group 21" descr="When to Cosign table row seven">
            <a:extLst>
              <a:ext uri="{FF2B5EF4-FFF2-40B4-BE49-F238E27FC236}">
                <a16:creationId xmlns:a16="http://schemas.microsoft.com/office/drawing/2014/main" id="{79DB3B44-77AF-E59E-6828-1AFC30868765}"/>
              </a:ext>
            </a:extLst>
          </p:cNvPr>
          <p:cNvGrpSpPr/>
          <p:nvPr/>
        </p:nvGrpSpPr>
        <p:grpSpPr>
          <a:xfrm>
            <a:off x="340093" y="5356618"/>
            <a:ext cx="11677898" cy="951575"/>
            <a:chOff x="340093" y="5356618"/>
            <a:chExt cx="11677898" cy="951575"/>
          </a:xfrm>
        </p:grpSpPr>
        <p:sp>
          <p:nvSpPr>
            <p:cNvPr id="77" name="Text Placeholder 51">
              <a:extLst>
                <a:ext uri="{FF2B5EF4-FFF2-40B4-BE49-F238E27FC236}">
                  <a16:creationId xmlns:a16="http://schemas.microsoft.com/office/drawing/2014/main" id="{D498D89A-D1B7-44C1-93FB-C6A9DCCA2EBA}"/>
                </a:ext>
              </a:extLst>
            </p:cNvPr>
            <p:cNvSpPr txBox="1">
              <a:spLocks/>
            </p:cNvSpPr>
            <p:nvPr/>
          </p:nvSpPr>
          <p:spPr>
            <a:xfrm>
              <a:off x="7752739" y="5356618"/>
              <a:ext cx="4265252" cy="830997"/>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t>Yes, for when practice competencies assessment has determined need for further education to attain competence</a:t>
              </a:r>
            </a:p>
          </p:txBody>
        </p:sp>
        <p:sp>
          <p:nvSpPr>
            <p:cNvPr id="8" name="Text Placeholder 51">
              <a:extLst>
                <a:ext uri="{FF2B5EF4-FFF2-40B4-BE49-F238E27FC236}">
                  <a16:creationId xmlns:a16="http://schemas.microsoft.com/office/drawing/2014/main" id="{5BABBB1A-A291-6FF3-8C66-C95430D419AF}"/>
                </a:ext>
              </a:extLst>
            </p:cNvPr>
            <p:cNvSpPr txBox="1">
              <a:spLocks/>
            </p:cNvSpPr>
            <p:nvPr/>
          </p:nvSpPr>
          <p:spPr>
            <a:xfrm>
              <a:off x="340093" y="5620871"/>
              <a:ext cx="2595118" cy="687322"/>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Credentialed Practitioner</a:t>
              </a:r>
            </a:p>
          </p:txBody>
        </p:sp>
        <p:pic>
          <p:nvPicPr>
            <p:cNvPr id="11" name="Graphic 10" descr="Checkmark with solid fill">
              <a:extLst>
                <a:ext uri="{FF2B5EF4-FFF2-40B4-BE49-F238E27FC236}">
                  <a16:creationId xmlns:a16="http://schemas.microsoft.com/office/drawing/2014/main" id="{96723C0A-229A-5551-5E60-A7BA767459B3}"/>
                </a:ext>
              </a:extLst>
            </p:cNvPr>
            <p:cNvPicPr>
              <a:picLocks/>
            </p:cNvPicPr>
            <p:nvPr/>
          </p:nvPicPr>
          <p:blipFill>
            <a:blip>
              <a:extLst>
                <a:ext uri="{96DAC541-7B7A-43D3-8B79-37D633B846F1}">
                  <asvg:svgBlip xmlns:asvg="http://schemas.microsoft.com/office/drawing/2016/SVG/main" r:embed="rId8"/>
                </a:ext>
              </a:extLst>
            </a:blip>
            <a:stretch>
              <a:fillRect/>
            </a:stretch>
          </p:blipFill>
          <p:spPr>
            <a:xfrm>
              <a:off x="5055395" y="5620871"/>
              <a:ext cx="453106" cy="453106"/>
            </a:xfrm>
            <a:prstGeom prst="rect">
              <a:avLst/>
            </a:prstGeom>
          </p:spPr>
        </p:pic>
      </p:grpSp>
      <p:cxnSp>
        <p:nvCxnSpPr>
          <p:cNvPr id="9" name="Straight Connector 8">
            <a:extLst>
              <a:ext uri="{FF2B5EF4-FFF2-40B4-BE49-F238E27FC236}">
                <a16:creationId xmlns:a16="http://schemas.microsoft.com/office/drawing/2014/main" id="{058B555E-A773-1607-453E-2BC643F5396E}"/>
              </a:ext>
              <a:ext uri="{C183D7F6-B498-43B3-948B-1728B52AA6E4}">
                <adec:decorative xmlns:adec="http://schemas.microsoft.com/office/drawing/2017/decorative" val="1"/>
              </a:ext>
            </a:extLst>
          </p:cNvPr>
          <p:cNvCxnSpPr>
            <a:cxnSpLocks/>
          </p:cNvCxnSpPr>
          <p:nvPr/>
        </p:nvCxnSpPr>
        <p:spPr>
          <a:xfrm>
            <a:off x="3211683" y="6157256"/>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4F7FB9C-11AA-0502-10C2-CA626A6EE7B9}"/>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spTree>
    <p:extLst>
      <p:ext uri="{BB962C8B-B14F-4D97-AF65-F5344CB8AC3E}">
        <p14:creationId xmlns:p14="http://schemas.microsoft.com/office/powerpoint/2010/main" val="1805502388"/>
      </p:ext>
    </p:extLst>
  </p:cSld>
  <p:clrMapOvr>
    <a:masterClrMapping/>
  </p:clrMapOvr>
  <mc:AlternateContent xmlns:mc="http://schemas.openxmlformats.org/markup-compatibility/2006" xmlns:p14="http://schemas.microsoft.com/office/powerpoint/2010/main">
    <mc:Choice Requires="p14">
      <p:transition spd="slow" p14:dur="2000" advTm="17575"/>
    </mc:Choice>
    <mc:Fallback xmlns="">
      <p:transition spd="slow" advTm="175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9"/>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333BC0-F01A-D563-AD04-DFDD558C858D}"/>
              </a:ext>
            </a:extLst>
          </p:cNvPr>
          <p:cNvSpPr>
            <a:spLocks noGrp="1"/>
          </p:cNvSpPr>
          <p:nvPr>
            <p:ph type="title" idx="4294967295"/>
          </p:nvPr>
        </p:nvSpPr>
        <p:spPr>
          <a:xfrm>
            <a:off x="340093" y="-492443"/>
            <a:ext cx="11511814" cy="492443"/>
          </a:xfrm>
        </p:spPr>
        <p:txBody>
          <a:bodyPr/>
          <a:lstStyle/>
          <a:p>
            <a:r>
              <a:rPr lang="en-US" dirty="0"/>
              <a:t>Thank You!</a:t>
            </a:r>
          </a:p>
        </p:txBody>
      </p:sp>
      <p:graphicFrame>
        <p:nvGraphicFramePr>
          <p:cNvPr id="4" name="Object 3">
            <a:extLst>
              <a:ext uri="{FF2B5EF4-FFF2-40B4-BE49-F238E27FC236}">
                <a16:creationId xmlns:a16="http://schemas.microsoft.com/office/drawing/2014/main" id="{875BBF8F-82EC-42AE-8230-3A10BC642F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6864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875BBF8F-82EC-42AE-8230-3A10BC642F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F69BCCA-CBA4-36EE-E85F-915569FA247E}"/>
              </a:ext>
            </a:extLst>
          </p:cNvPr>
          <p:cNvSpPr>
            <a:spLocks noGrp="1"/>
          </p:cNvSpPr>
          <p:nvPr>
            <p:ph type="body" sz="quarter" idx="11"/>
          </p:nvPr>
        </p:nvSpPr>
        <p:spPr>
          <a:xfrm>
            <a:off x="2382412" y="2822949"/>
            <a:ext cx="7427175" cy="1138773"/>
          </a:xfrm>
        </p:spPr>
        <p:txBody>
          <a:bodyPr/>
          <a:lstStyle/>
          <a:p>
            <a:endParaRPr lang="en-US" dirty="0"/>
          </a:p>
          <a:p>
            <a:endParaRPr lang="en-US" dirty="0"/>
          </a:p>
          <a:p>
            <a:pPr algn="ctr"/>
            <a:r>
              <a:rPr lang="en-US" dirty="0"/>
              <a:t>Questions? Contact </a:t>
            </a:r>
            <a:r>
              <a:rPr lang="en-US" dirty="0">
                <a:hlinkClick r:id="rId8">
                  <a:extLst>
                    <a:ext uri="{A12FA001-AC4F-418D-AE19-62706E023703}">
                      <ahyp:hlinkClr xmlns:ahyp="http://schemas.microsoft.com/office/drawing/2018/hyperlinkcolor" val="tx"/>
                    </a:ext>
                  </a:extLst>
                </a:hlinkClick>
              </a:rPr>
              <a:t>scope@eatright.org</a:t>
            </a:r>
            <a:r>
              <a:rPr lang="en-US" dirty="0"/>
              <a:t>  </a:t>
            </a:r>
          </a:p>
        </p:txBody>
      </p:sp>
      <p:pic>
        <p:nvPicPr>
          <p:cNvPr id="6" name="Audio 5" descr="Audio speaker icon">
            <a:hlinkClick r:id="" action="ppaction://media"/>
            <a:extLst>
              <a:ext uri="{FF2B5EF4-FFF2-40B4-BE49-F238E27FC236}">
                <a16:creationId xmlns:a16="http://schemas.microsoft.com/office/drawing/2014/main" id="{6F6A037A-14E1-B8B3-7030-C5C204A9D527}"/>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3EF24771-540C-4C4D-A296-D8343D22C312}" label="" lang="en-us" r:embed="rId9"/>
                        </p173:trackLst>
                      </p173:tracksInfo>
                    </p:ext>
                  </p14:extLst>
                </p14:media>
              </p:ext>
            </p:extLst>
          </p:nvPr>
        </p:nvPicPr>
        <p:blipFill>
          <a:blip r:embed="rId10"/>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93439163"/>
      </p:ext>
    </p:extLst>
  </p:cSld>
  <p:clrMapOvr>
    <a:masterClrMapping/>
  </p:clrMapOvr>
  <mc:AlternateContent xmlns:mc="http://schemas.openxmlformats.org/markup-compatibility/2006" xmlns:p14="http://schemas.microsoft.com/office/powerpoint/2010/main">
    <mc:Choice Requires="p14">
      <p:transition spd="slow" p14:dur="2000" advTm="21594"/>
    </mc:Choice>
    <mc:Fallback xmlns="">
      <p:transition spd="slow" advTm="2159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20C42-0E76-0065-A0D2-936E882B33F5}"/>
              </a:ext>
            </a:extLst>
          </p:cNvPr>
          <p:cNvSpPr>
            <a:spLocks noGrp="1"/>
          </p:cNvSpPr>
          <p:nvPr>
            <p:ph type="title"/>
          </p:nvPr>
        </p:nvSpPr>
        <p:spPr/>
        <p:txBody>
          <a:bodyPr/>
          <a:lstStyle/>
          <a:p>
            <a:r>
              <a:rPr lang="en-US" dirty="0"/>
              <a:t>Supervision and Autonomy in the RDN-NDTR Team</a:t>
            </a:r>
          </a:p>
        </p:txBody>
      </p:sp>
      <p:sp>
        <p:nvSpPr>
          <p:cNvPr id="3" name="Text Placeholder 2">
            <a:extLst>
              <a:ext uri="{FF2B5EF4-FFF2-40B4-BE49-F238E27FC236}">
                <a16:creationId xmlns:a16="http://schemas.microsoft.com/office/drawing/2014/main" id="{F955B1E9-879B-9019-2B85-EEF57A921DCC}"/>
              </a:ext>
            </a:extLst>
          </p:cNvPr>
          <p:cNvSpPr>
            <a:spLocks noGrp="1"/>
          </p:cNvSpPr>
          <p:nvPr>
            <p:ph type="body" sz="quarter" idx="11"/>
          </p:nvPr>
        </p:nvSpPr>
        <p:spPr>
          <a:xfrm>
            <a:off x="340092" y="1384614"/>
            <a:ext cx="6082479" cy="3816429"/>
          </a:xfrm>
        </p:spPr>
        <p:txBody>
          <a:bodyPr/>
          <a:lstStyle/>
          <a:p>
            <a:r>
              <a:rPr lang="en-US" sz="2000" dirty="0">
                <a:ea typeface="Open Sans Light" panose="020B0606030504020204" pitchFamily="34" charset="0"/>
                <a:cs typeface="Open Sans Light" panose="020B0606030504020204" pitchFamily="34" charset="0"/>
              </a:rPr>
              <a:t>The following are common </a:t>
            </a:r>
            <a:r>
              <a:rPr lang="en-US" sz="2000" dirty="0">
                <a:effectLst/>
                <a:ea typeface="Open Sans Light" panose="020B0606030504020204" pitchFamily="34" charset="0"/>
                <a:cs typeface="Open Sans Light" panose="020B0606030504020204" pitchFamily="34" charset="0"/>
              </a:rPr>
              <a:t>question asked by RDNs/NDTRs , particularly when working with other practitioners to deliver nutrition care and services:</a:t>
            </a:r>
          </a:p>
          <a:p>
            <a:pPr marL="342900" indent="-342900">
              <a:buAutoNum type="arabicParenR"/>
            </a:pPr>
            <a:r>
              <a:rPr lang="en-US" sz="2000" dirty="0">
                <a:ea typeface="Open Sans Light" panose="020B0606030504020204" pitchFamily="34" charset="0"/>
                <a:cs typeface="Open Sans Light" panose="020B0606030504020204" pitchFamily="34" charset="0"/>
              </a:rPr>
              <a:t>Which activities can be performed autonomously?</a:t>
            </a:r>
          </a:p>
          <a:p>
            <a:pPr marL="342900" indent="-342900">
              <a:buAutoNum type="arabicParenR"/>
            </a:pPr>
            <a:r>
              <a:rPr lang="en-US" sz="2000" dirty="0">
                <a:effectLst/>
                <a:ea typeface="Open Sans Light" panose="020B0606030504020204" pitchFamily="34" charset="0"/>
                <a:cs typeface="Open Sans Light" panose="020B0606030504020204" pitchFamily="34" charset="0"/>
              </a:rPr>
              <a:t>Which activities need supervision?</a:t>
            </a:r>
          </a:p>
          <a:p>
            <a:pPr marL="342900" indent="-342900">
              <a:buAutoNum type="arabicParenR"/>
            </a:pPr>
            <a:r>
              <a:rPr lang="en-US" sz="2000" dirty="0">
                <a:effectLst/>
                <a:ea typeface="Open Sans Light" panose="020B0606030504020204" pitchFamily="34" charset="0"/>
                <a:cs typeface="Open Sans Light" panose="020B0606030504020204" pitchFamily="34" charset="0"/>
              </a:rPr>
              <a:t>What are the requirements for cosigning? </a:t>
            </a:r>
          </a:p>
          <a:p>
            <a:r>
              <a:rPr lang="en-US" sz="2000" dirty="0">
                <a:ea typeface="Open Sans Light" panose="020B0606030504020204" pitchFamily="34" charset="0"/>
                <a:cs typeface="Open Sans Light" panose="020B0606030504020204" pitchFamily="34" charset="0"/>
              </a:rPr>
              <a:t>Determining the individual scope of practice and competence of each member of the nutrition team is required to answer these questions.  </a:t>
            </a:r>
          </a:p>
          <a:p>
            <a:endParaRPr lang="en-US" dirty="0"/>
          </a:p>
        </p:txBody>
      </p:sp>
      <p:graphicFrame>
        <p:nvGraphicFramePr>
          <p:cNvPr id="4" name="Diagram 3" descr="Diagram about Navigating the RDN-NDTR Team">
            <a:extLst>
              <a:ext uri="{FF2B5EF4-FFF2-40B4-BE49-F238E27FC236}">
                <a16:creationId xmlns:a16="http://schemas.microsoft.com/office/drawing/2014/main" id="{C5E1130A-0F30-5429-360D-7FD9553CF88A}"/>
              </a:ext>
            </a:extLst>
          </p:cNvPr>
          <p:cNvGraphicFramePr/>
          <p:nvPr>
            <p:extLst>
              <p:ext uri="{D42A27DB-BD31-4B8C-83A1-F6EECF244321}">
                <p14:modId xmlns:p14="http://schemas.microsoft.com/office/powerpoint/2010/main" val="328419934"/>
              </p:ext>
            </p:extLst>
          </p:nvPr>
        </p:nvGraphicFramePr>
        <p:xfrm>
          <a:off x="6422571" y="1535535"/>
          <a:ext cx="5271587" cy="397328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TextBox 4">
            <a:extLst>
              <a:ext uri="{FF2B5EF4-FFF2-40B4-BE49-F238E27FC236}">
                <a16:creationId xmlns:a16="http://schemas.microsoft.com/office/drawing/2014/main" id="{4FF24C2F-4470-0683-DFC4-F5C4CB5D9C3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3" name="Audio 12" descr="Audio speaker icon">
            <a:hlinkClick r:id="" action="ppaction://media"/>
            <a:extLst>
              <a:ext uri="{FF2B5EF4-FFF2-40B4-BE49-F238E27FC236}">
                <a16:creationId xmlns:a16="http://schemas.microsoft.com/office/drawing/2014/main" id="{2A6FC886-3325-7B87-5BA9-5C2E30D4A801}"/>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CA5CC5F-AB68-9E4B-8B2A-B39A923E7A3E}" label="" lang="en-us" r:embed="rId10"/>
                        </p173:trackLst>
                      </p173:tracksInfo>
                    </p:ext>
                  </p14:extLst>
                </p14:media>
              </p:ext>
            </p:extLst>
          </p:nvPr>
        </p:nvPicPr>
        <p:blipFill>
          <a:blip r:embed="rId11"/>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00728941"/>
      </p:ext>
    </p:extLst>
  </p:cSld>
  <p:clrMapOvr>
    <a:masterClrMapping/>
  </p:clrMapOvr>
  <mc:AlternateContent xmlns:mc="http://schemas.openxmlformats.org/markup-compatibility/2006" xmlns:p14="http://schemas.microsoft.com/office/powerpoint/2010/main">
    <mc:Choice Requires="p14">
      <p:transition spd="slow" p14:dur="2000" advTm="31414"/>
    </mc:Choice>
    <mc:Fallback xmlns="">
      <p:transition spd="slow" advTm="3141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B81F103-1617-DEFB-57ED-15FB24393201}"/>
              </a:ext>
            </a:extLst>
          </p:cNvPr>
          <p:cNvSpPr>
            <a:spLocks noGrp="1"/>
          </p:cNvSpPr>
          <p:nvPr>
            <p:ph type="title"/>
          </p:nvPr>
        </p:nvSpPr>
        <p:spPr/>
        <p:txBody>
          <a:bodyPr/>
          <a:lstStyle/>
          <a:p>
            <a:r>
              <a:rPr lang="en-US" dirty="0"/>
              <a:t>Individual Scope of Practice</a:t>
            </a:r>
          </a:p>
        </p:txBody>
      </p:sp>
      <p:sp>
        <p:nvSpPr>
          <p:cNvPr id="10" name="Text Placeholder 9">
            <a:extLst>
              <a:ext uri="{FF2B5EF4-FFF2-40B4-BE49-F238E27FC236}">
                <a16:creationId xmlns:a16="http://schemas.microsoft.com/office/drawing/2014/main" id="{9EE7D057-689C-935C-E3B3-6D2BC9F33EA6}"/>
              </a:ext>
            </a:extLst>
          </p:cNvPr>
          <p:cNvSpPr>
            <a:spLocks noGrp="1"/>
          </p:cNvSpPr>
          <p:nvPr>
            <p:ph type="body" sz="quarter" idx="11"/>
          </p:nvPr>
        </p:nvSpPr>
        <p:spPr/>
        <p:txBody>
          <a:bodyPr/>
          <a:lstStyle/>
          <a:p>
            <a:r>
              <a:rPr lang="en-US" dirty="0"/>
              <a:t>The term “Individual Scope of Practice” is used consistently throughout the literature and in practice, but many practitioners don’t have a clear understanding of what their scope of practice entails.  </a:t>
            </a:r>
          </a:p>
        </p:txBody>
      </p:sp>
      <p:pic>
        <p:nvPicPr>
          <p:cNvPr id="3" name="Picture 2" descr="Equation diagram illustrating components of Individual Scope of Practice">
            <a:extLst>
              <a:ext uri="{FF2B5EF4-FFF2-40B4-BE49-F238E27FC236}">
                <a16:creationId xmlns:a16="http://schemas.microsoft.com/office/drawing/2014/main" id="{2FCF9AF1-BA06-3677-98EB-9B852F6D6B9C}"/>
              </a:ext>
            </a:extLst>
          </p:cNvPr>
          <p:cNvPicPr>
            <a:picLocks noChangeAspect="1"/>
          </p:cNvPicPr>
          <p:nvPr/>
        </p:nvPicPr>
        <p:blipFill rotWithShape="1">
          <a:blip r:embed="rId5"/>
          <a:srcRect l="9831" t="26126" r="7771" b="26486"/>
          <a:stretch/>
        </p:blipFill>
        <p:spPr>
          <a:xfrm>
            <a:off x="1072977" y="2483708"/>
            <a:ext cx="10046045" cy="3249827"/>
          </a:xfrm>
          <a:prstGeom prst="rect">
            <a:avLst/>
          </a:prstGeom>
        </p:spPr>
      </p:pic>
      <p:sp>
        <p:nvSpPr>
          <p:cNvPr id="2" name="TextBox 1">
            <a:extLst>
              <a:ext uri="{FF2B5EF4-FFF2-40B4-BE49-F238E27FC236}">
                <a16:creationId xmlns:a16="http://schemas.microsoft.com/office/drawing/2014/main" id="{74271621-A0A0-6AD6-67AC-AB7390226F9E}"/>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8" name="Audio 7" descr="Audio speaker icon">
            <a:hlinkClick r:id="" action="ppaction://media"/>
            <a:extLst>
              <a:ext uri="{FF2B5EF4-FFF2-40B4-BE49-F238E27FC236}">
                <a16:creationId xmlns:a16="http://schemas.microsoft.com/office/drawing/2014/main" id="{D621D074-BD15-693F-1354-DE6B9536C7D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8E25F8F-006F-A64F-8E16-02C9E63C4EDC}"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009821461"/>
      </p:ext>
    </p:extLst>
  </p:cSld>
  <p:clrMapOvr>
    <a:masterClrMapping/>
  </p:clrMapOvr>
  <mc:AlternateContent xmlns:mc="http://schemas.openxmlformats.org/markup-compatibility/2006" xmlns:p14="http://schemas.microsoft.com/office/powerpoint/2010/main">
    <mc:Choice Requires="p14">
      <p:transition spd="slow" p14:dur="2000" advTm="39055"/>
    </mc:Choice>
    <mc:Fallback xmlns="">
      <p:transition spd="slow" advTm="390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0E450-175B-7A27-694D-611716D5C64A}"/>
              </a:ext>
            </a:extLst>
          </p:cNvPr>
          <p:cNvSpPr>
            <a:spLocks noGrp="1"/>
          </p:cNvSpPr>
          <p:nvPr>
            <p:ph type="title"/>
          </p:nvPr>
        </p:nvSpPr>
        <p:spPr>
          <a:xfrm>
            <a:off x="340093" y="-492443"/>
            <a:ext cx="11511814" cy="492443"/>
          </a:xfrm>
        </p:spPr>
        <p:txBody>
          <a:bodyPr vert="horz" lIns="0" tIns="0" rIns="0" bIns="0" rtlCol="0" anchor="b" anchorCtr="0">
            <a:spAutoFit/>
          </a:bodyPr>
          <a:lstStyle/>
          <a:p>
            <a:r>
              <a:rPr lang="en-US" dirty="0"/>
              <a:t>Individual Scope of Practice Diagram</a:t>
            </a:r>
          </a:p>
        </p:txBody>
      </p:sp>
      <p:sp>
        <p:nvSpPr>
          <p:cNvPr id="6" name="Text Placeholder 5">
            <a:extLst>
              <a:ext uri="{FF2B5EF4-FFF2-40B4-BE49-F238E27FC236}">
                <a16:creationId xmlns:a16="http://schemas.microsoft.com/office/drawing/2014/main" id="{D0C8D818-12C9-0F56-2B18-4803B08BB206}"/>
              </a:ext>
              <a:ext uri="{C183D7F6-B498-43B3-948B-1728B52AA6E4}">
                <adec:decorative xmlns:adec="http://schemas.microsoft.com/office/drawing/2017/decorative" val="1"/>
              </a:ext>
            </a:extLst>
          </p:cNvPr>
          <p:cNvSpPr>
            <a:spLocks noGrp="1"/>
          </p:cNvSpPr>
          <p:nvPr>
            <p:ph type="body" sz="quarter" idx="11"/>
          </p:nvPr>
        </p:nvSpPr>
        <p:spPr/>
        <p:txBody>
          <a:bodyPr/>
          <a:lstStyle/>
          <a:p>
            <a:endParaRPr lang="en-US" dirty="0"/>
          </a:p>
        </p:txBody>
      </p:sp>
      <p:pic>
        <p:nvPicPr>
          <p:cNvPr id="5" name="Picture 4" descr="Diagram illustrating Individual Scope of Practice as an intersection">
            <a:extLst>
              <a:ext uri="{FF2B5EF4-FFF2-40B4-BE49-F238E27FC236}">
                <a16:creationId xmlns:a16="http://schemas.microsoft.com/office/drawing/2014/main" id="{6BCD61EE-A63A-0516-0A78-581EF80BA6E3}"/>
              </a:ext>
            </a:extLst>
          </p:cNvPr>
          <p:cNvPicPr>
            <a:picLocks noChangeAspect="1"/>
          </p:cNvPicPr>
          <p:nvPr/>
        </p:nvPicPr>
        <p:blipFill>
          <a:blip r:embed="rId5"/>
          <a:stretch>
            <a:fillRect/>
          </a:stretch>
        </p:blipFill>
        <p:spPr>
          <a:xfrm>
            <a:off x="47752" y="0"/>
            <a:ext cx="12096496" cy="6804280"/>
          </a:xfrm>
          <a:prstGeom prst="rect">
            <a:avLst/>
          </a:prstGeom>
        </p:spPr>
      </p:pic>
      <p:sp>
        <p:nvSpPr>
          <p:cNvPr id="2" name="TextBox 1">
            <a:extLst>
              <a:ext uri="{FF2B5EF4-FFF2-40B4-BE49-F238E27FC236}">
                <a16:creationId xmlns:a16="http://schemas.microsoft.com/office/drawing/2014/main" id="{0B3DC40F-BC09-8BCE-8EF4-759CEAE3834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1" name="Audio 10" descr="Audio speaker icon">
            <a:hlinkClick r:id="" action="ppaction://media"/>
            <a:extLst>
              <a:ext uri="{FF2B5EF4-FFF2-40B4-BE49-F238E27FC236}">
                <a16:creationId xmlns:a16="http://schemas.microsoft.com/office/drawing/2014/main" id="{41DF35E0-51BA-E5AB-A058-422E4FB72763}"/>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663123FF-0AD5-044E-BCC6-F37891DC7322}"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47334761"/>
      </p:ext>
    </p:extLst>
  </p:cSld>
  <p:clrMapOvr>
    <a:masterClrMapping/>
  </p:clrMapOvr>
  <mc:AlternateContent xmlns:mc="http://schemas.openxmlformats.org/markup-compatibility/2006" xmlns:p14="http://schemas.microsoft.com/office/powerpoint/2010/main">
    <mc:Choice Requires="p14">
      <p:transition spd="slow" p14:dur="2000" advTm="44168"/>
    </mc:Choice>
    <mc:Fallback xmlns="">
      <p:transition spd="slow" advTm="441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p:txBody>
          <a:bodyPr vert="horz"/>
          <a:lstStyle/>
          <a:p>
            <a:r>
              <a:rPr lang="en-US" dirty="0"/>
              <a:t>NDTRs and Autonomy</a:t>
            </a:r>
            <a:endParaRPr lang="en-GB" dirty="0"/>
          </a:p>
        </p:txBody>
      </p:sp>
      <p:graphicFrame>
        <p:nvGraphicFramePr>
          <p:cNvPr id="7" name="Object 6" descr="Photo of smiling female clinician with electronic tablet">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19846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7" name="Object 6" hidden="1">
                        <a:extLst>
                          <a:ext uri="{FF2B5EF4-FFF2-40B4-BE49-F238E27FC236}">
                            <a16:creationId xmlns:a16="http://schemas.microsoft.com/office/drawing/2014/main" id="{17B6B004-143B-4D50-A1E3-92D7747EC6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68554" y="1199263"/>
            <a:ext cx="5827446" cy="5498941"/>
          </a:xfrm>
        </p:spPr>
        <p:txBody>
          <a:bodyPr/>
          <a:lstStyle/>
          <a:p>
            <a:pPr>
              <a:spcBef>
                <a:spcPts val="1200"/>
              </a:spcBef>
              <a:spcAft>
                <a:spcPts val="0"/>
              </a:spcAft>
            </a:pPr>
            <a:r>
              <a:rPr lang="en-US" dirty="0">
                <a:effectLst/>
                <a:latin typeface="Open Sans Light" panose="020B0606030504020204" pitchFamily="34" charset="0"/>
                <a:ea typeface="Open Sans Light" panose="020B0606030504020204" pitchFamily="34" charset="0"/>
                <a:cs typeface="Open Sans Light" panose="020B0606030504020204" pitchFamily="34" charset="0"/>
              </a:rPr>
              <a:t>While</a:t>
            </a:r>
            <a:r>
              <a:rPr lang="en-US" dirty="0">
                <a:latin typeface="Open Sans Light" panose="020B0606030504020204" pitchFamily="34" charset="0"/>
                <a:ea typeface="Open Sans Light" panose="020B0606030504020204" pitchFamily="34" charset="0"/>
                <a:cs typeface="Open Sans Light" panose="020B0606030504020204" pitchFamily="34" charset="0"/>
              </a:rPr>
              <a:t> the </a:t>
            </a:r>
            <a:r>
              <a:rPr lang="en-US" dirty="0">
                <a:effectLst/>
                <a:latin typeface="Open Sans Light" panose="020B0606030504020204" pitchFamily="34" charset="0"/>
                <a:ea typeface="Open Sans Light" panose="020B0606030504020204" pitchFamily="34" charset="0"/>
                <a:cs typeface="Open Sans Light" panose="020B0606030504020204" pitchFamily="34" charset="0"/>
              </a:rPr>
              <a:t>NDTR must work under the supervision of the RDN when providing direct nutrition care in a clinical setting, they may work independently when providing general nutrition education and other services to healthy populations.</a:t>
            </a:r>
            <a:r>
              <a:rPr lang="en-US" baseline="30000" dirty="0">
                <a:solidFill>
                  <a:srgbClr val="FF0000"/>
                </a:solidFill>
                <a:effectLst/>
                <a:latin typeface="Open Sans Light" panose="020B0606030504020204" pitchFamily="34" charset="0"/>
                <a:ea typeface="Open Sans Light" panose="020B0606030504020204" pitchFamily="34" charset="0"/>
                <a:cs typeface="Open Sans Light" panose="020B0606030504020204" pitchFamily="34" charset="0"/>
              </a:rPr>
              <a:t> </a:t>
            </a:r>
            <a:r>
              <a:rPr lang="en-US" dirty="0">
                <a:effectLst/>
                <a:latin typeface="Open Sans Light" panose="020B0606030504020204" pitchFamily="34" charset="0"/>
                <a:ea typeface="Open Sans Light" panose="020B0606030504020204" pitchFamily="34" charset="0"/>
                <a:cs typeface="Open Sans Light" panose="020B0606030504020204" pitchFamily="34" charset="0"/>
              </a:rPr>
              <a:t> </a:t>
            </a:r>
          </a:p>
          <a:p>
            <a:pPr marL="0" marR="0">
              <a:spcBef>
                <a:spcPts val="0"/>
              </a:spcBef>
              <a:spcAft>
                <a:spcPts val="1000"/>
              </a:spcAft>
            </a:pPr>
            <a:endParaRPr lang="en-US" dirty="0">
              <a:effectLst/>
              <a:latin typeface="Open Sans Light" panose="020B0606030504020204" pitchFamily="34" charset="0"/>
              <a:ea typeface="Open Sans Light" panose="020B0606030504020204" pitchFamily="34" charset="0"/>
              <a:cs typeface="Open Sans Light" panose="020B0606030504020204" pitchFamily="34" charset="0"/>
            </a:endParaRPr>
          </a:p>
          <a:p>
            <a:pPr marL="0" marR="0">
              <a:spcBef>
                <a:spcPts val="0"/>
              </a:spcBef>
              <a:spcAft>
                <a:spcPts val="1000"/>
              </a:spcAft>
            </a:pPr>
            <a:r>
              <a:rPr lang="en-US" dirty="0">
                <a:effectLst/>
                <a:latin typeface="Open Sans Light" panose="020B0606030504020204" pitchFamily="34" charset="0"/>
                <a:ea typeface="Open Sans Light" panose="020B0606030504020204" pitchFamily="34" charset="0"/>
                <a:cs typeface="Open Sans Light" panose="020B0606030504020204" pitchFamily="34" charset="0"/>
              </a:rPr>
              <a:t>When working autonomously, it is essential that th</a:t>
            </a:r>
            <a:r>
              <a:rPr lang="en-US" dirty="0">
                <a:latin typeface="Open Sans Light" panose="020B0606030504020204" pitchFamily="34" charset="0"/>
                <a:ea typeface="Open Sans Light" panose="020B0606030504020204" pitchFamily="34" charset="0"/>
                <a:cs typeface="Open Sans Light" panose="020B0606030504020204" pitchFamily="34" charset="0"/>
              </a:rPr>
              <a:t>e NDTR:</a:t>
            </a:r>
          </a:p>
          <a:p>
            <a:pPr marL="457200" marR="0" indent="-457200">
              <a:spcBef>
                <a:spcPts val="0"/>
              </a:spcBef>
              <a:spcAft>
                <a:spcPts val="1000"/>
              </a:spcAft>
              <a:buFont typeface="+mj-lt"/>
              <a:buAutoNum type="arabicPeriod"/>
            </a:pPr>
            <a:r>
              <a:rPr lang="en-US" dirty="0">
                <a:latin typeface="Open Sans Light" panose="020B0606030504020204" pitchFamily="34" charset="0"/>
                <a:ea typeface="Open Sans Light" panose="020B0606030504020204" pitchFamily="34" charset="0"/>
                <a:cs typeface="Open Sans Light" panose="020B0606030504020204" pitchFamily="34" charset="0"/>
              </a:rPr>
              <a:t>understands and adheres to </a:t>
            </a:r>
            <a:r>
              <a:rPr lang="en-US" dirty="0">
                <a:effectLst/>
                <a:latin typeface="Open Sans Light" panose="020B0606030504020204" pitchFamily="34" charset="0"/>
                <a:ea typeface="Open Sans Light" panose="020B0606030504020204" pitchFamily="34" charset="0"/>
                <a:cs typeface="Open Sans Light" panose="020B0606030504020204" pitchFamily="34" charset="0"/>
              </a:rPr>
              <a:t>the Code of Ethics, which highlights the importance of recognizing one’s limits of qualifications and when appropriate, collaborate, seek counsel, and make referrals</a:t>
            </a:r>
            <a:r>
              <a:rPr lang="en-US" dirty="0">
                <a:latin typeface="Open Sans Light" panose="020B0606030504020204" pitchFamily="34" charset="0"/>
                <a:ea typeface="Open Sans Light" panose="020B0606030504020204" pitchFamily="34" charset="0"/>
                <a:cs typeface="Open Sans Light" panose="020B0606030504020204" pitchFamily="34" charset="0"/>
              </a:rPr>
              <a:t>, and</a:t>
            </a:r>
          </a:p>
          <a:p>
            <a:pPr marL="457200" indent="-457200">
              <a:spcBef>
                <a:spcPts val="0"/>
              </a:spcBef>
              <a:spcAft>
                <a:spcPts val="1000"/>
              </a:spcAft>
              <a:buFont typeface="+mj-lt"/>
              <a:buAutoNum type="arabicPeriod"/>
            </a:pPr>
            <a:r>
              <a:rPr lang="en-US" dirty="0">
                <a:latin typeface="Open Sans Light" panose="020B0606030504020204" pitchFamily="34" charset="0"/>
                <a:ea typeface="Open Sans Light" panose="020B0606030504020204" pitchFamily="34" charset="0"/>
                <a:cs typeface="Open Sans Light" panose="020B0606030504020204" pitchFamily="34" charset="0"/>
              </a:rPr>
              <a:t>assesses their individual scope of practice to determine the specific tasks/activities can be done autonomously. </a:t>
            </a:r>
          </a:p>
          <a:p>
            <a:pPr>
              <a:spcBef>
                <a:spcPts val="0"/>
              </a:spcBef>
              <a:spcAft>
                <a:spcPts val="1000"/>
              </a:spcAft>
            </a:pPr>
            <a:r>
              <a:rPr lang="en-US" dirty="0">
                <a:latin typeface="Open Sans Light" panose="020B0606030504020204" pitchFamily="34" charset="0"/>
                <a:ea typeface="Open Sans Light" panose="020B0606030504020204" pitchFamily="34" charset="0"/>
                <a:cs typeface="Open Sans Light" panose="020B0606030504020204" pitchFamily="34" charset="0"/>
              </a:rPr>
              <a:t>The decision tree on the next slide walks an NDTR through questions that can help with this. </a:t>
            </a:r>
            <a:endParaRPr lang="en-US" sz="2000" dirty="0">
              <a:effectLst/>
              <a:latin typeface="Open Sans Light" panose="020B0606030504020204" pitchFamily="34" charset="0"/>
              <a:ea typeface="Open Sans Light" panose="020B0606030504020204" pitchFamily="34" charset="0"/>
              <a:cs typeface="Open Sans Light" panose="020B0606030504020204" pitchFamily="34" charset="0"/>
            </a:endParaRPr>
          </a:p>
        </p:txBody>
      </p:sp>
      <p:sp>
        <p:nvSpPr>
          <p:cNvPr id="2" name="TextBox 1">
            <a:extLst>
              <a:ext uri="{FF2B5EF4-FFF2-40B4-BE49-F238E27FC236}">
                <a16:creationId xmlns:a16="http://schemas.microsoft.com/office/drawing/2014/main" id="{E1764AF5-0CDF-6A9E-49D9-883DF0BDAFC0}"/>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3" name="Picture Placeholder 12">
            <a:extLst>
              <a:ext uri="{FF2B5EF4-FFF2-40B4-BE49-F238E27FC236}">
                <a16:creationId xmlns:a16="http://schemas.microsoft.com/office/drawing/2014/main" id="{D5247D80-7B7A-4C8F-8E06-66FA688DBB31}"/>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8"/>
          <a:srcRect l="17626" r="17626"/>
          <a:stretch/>
        </p:blipFill>
        <p:spPr/>
      </p:pic>
      <p:pic>
        <p:nvPicPr>
          <p:cNvPr id="12" name="Audio 11" descr="Audio speaker icon">
            <a:hlinkClick r:id="" action="ppaction://media"/>
            <a:extLst>
              <a:ext uri="{FF2B5EF4-FFF2-40B4-BE49-F238E27FC236}">
                <a16:creationId xmlns:a16="http://schemas.microsoft.com/office/drawing/2014/main" id="{82A8AA2B-1202-7E67-A8C4-9395FE68E66B}"/>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875C3309-26F9-784F-BBAD-6FA62920E3D0}" label="" lang="en-us" r:embed="rId9"/>
                        </p173:trackLst>
                      </p173:tracksInfo>
                    </p:ext>
                  </p14:extLst>
                </p14:media>
              </p:ext>
            </p:extLst>
          </p:nvPr>
        </p:nvPicPr>
        <p:blipFill>
          <a:blip r:embed="rId10"/>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38721965"/>
      </p:ext>
    </p:extLst>
  </p:cSld>
  <p:clrMapOvr>
    <a:masterClrMapping/>
  </p:clrMapOvr>
  <mc:AlternateContent xmlns:mc="http://schemas.openxmlformats.org/markup-compatibility/2006" xmlns:p14="http://schemas.microsoft.com/office/powerpoint/2010/main">
    <mc:Choice Requires="p14">
      <p:transition spd="slow" p14:dur="2000" advTm="50195"/>
    </mc:Choice>
    <mc:Fallback xmlns="">
      <p:transition spd="slow" advTm="501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2F8AED-082F-B974-218E-AB7A59E74F7C}"/>
              </a:ext>
            </a:extLst>
          </p:cNvPr>
          <p:cNvSpPr>
            <a:spLocks noGrp="1"/>
          </p:cNvSpPr>
          <p:nvPr>
            <p:ph type="title"/>
          </p:nvPr>
        </p:nvSpPr>
        <p:spPr>
          <a:xfrm>
            <a:off x="340093" y="-492443"/>
            <a:ext cx="11511814" cy="492443"/>
          </a:xfrm>
        </p:spPr>
        <p:txBody>
          <a:bodyPr vert="horz" lIns="0" tIns="0" rIns="0" bIns="0" rtlCol="0" anchor="b" anchorCtr="0">
            <a:spAutoFit/>
          </a:bodyPr>
          <a:lstStyle/>
          <a:p>
            <a:r>
              <a:rPr lang="en-US" dirty="0"/>
              <a:t>NDTR Autonomy Decision Tree</a:t>
            </a:r>
          </a:p>
        </p:txBody>
      </p:sp>
      <p:pic>
        <p:nvPicPr>
          <p:cNvPr id="11" name="Picture 10" descr="Diagram titled NDTR Autonomy Decision Tree">
            <a:extLst>
              <a:ext uri="{FF2B5EF4-FFF2-40B4-BE49-F238E27FC236}">
                <a16:creationId xmlns:a16="http://schemas.microsoft.com/office/drawing/2014/main" id="{3AA55EAC-F349-0633-A609-913E2DC38D43}"/>
              </a:ext>
            </a:extLst>
          </p:cNvPr>
          <p:cNvPicPr>
            <a:picLocks noChangeAspect="1"/>
          </p:cNvPicPr>
          <p:nvPr/>
        </p:nvPicPr>
        <p:blipFill>
          <a:blip r:embed="rId5"/>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33DE2BCE-A52F-5269-6B38-7C20ED497941}"/>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9" name="Audio 8" descr="Audio speaker icon">
            <a:hlinkClick r:id="" action="ppaction://media"/>
            <a:extLst>
              <a:ext uri="{FF2B5EF4-FFF2-40B4-BE49-F238E27FC236}">
                <a16:creationId xmlns:a16="http://schemas.microsoft.com/office/drawing/2014/main" id="{ADE3BE9D-1F29-332B-0D80-BFC23735D714}"/>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E8AB966B-07F0-5A4C-861D-B31CCCF692D3}"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86340203"/>
      </p:ext>
    </p:extLst>
  </p:cSld>
  <p:clrMapOvr>
    <a:masterClrMapping/>
  </p:clrMapOvr>
  <mc:AlternateContent xmlns:mc="http://schemas.openxmlformats.org/markup-compatibility/2006" xmlns:p14="http://schemas.microsoft.com/office/powerpoint/2010/main">
    <mc:Choice Requires="p14">
      <p:transition spd="slow" p14:dur="2000" advTm="68211"/>
    </mc:Choice>
    <mc:Fallback xmlns="">
      <p:transition spd="slow" advTm="682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B555-4452-0475-B795-541DE688EE4E}"/>
              </a:ext>
            </a:extLst>
          </p:cNvPr>
          <p:cNvSpPr>
            <a:spLocks noGrp="1"/>
          </p:cNvSpPr>
          <p:nvPr>
            <p:ph type="title"/>
          </p:nvPr>
        </p:nvSpPr>
        <p:spPr/>
        <p:txBody>
          <a:bodyPr/>
          <a:lstStyle/>
          <a:p>
            <a:r>
              <a:rPr lang="en-US" dirty="0"/>
              <a:t>What does Supervision mean? </a:t>
            </a:r>
          </a:p>
        </p:txBody>
      </p:sp>
      <p:pic>
        <p:nvPicPr>
          <p:cNvPr id="6" name="Content Placeholder 5" descr="Aerial of healthcare colleagues">
            <a:extLst>
              <a:ext uri="{FF2B5EF4-FFF2-40B4-BE49-F238E27FC236}">
                <a16:creationId xmlns:a16="http://schemas.microsoft.com/office/drawing/2014/main" id="{FB60D56A-266A-26E2-EAC7-666DBE5A99DE}"/>
              </a:ext>
            </a:extLst>
          </p:cNvPr>
          <p:cNvPicPr>
            <a:picLocks noGrp="1" noChangeAspect="1"/>
          </p:cNvPicPr>
          <p:nvPr>
            <p:ph sz="quarter" idx="16"/>
          </p:nvPr>
        </p:nvPicPr>
        <p:blipFill>
          <a:blip r:embed="rId5"/>
          <a:stretch>
            <a:fillRect/>
          </a:stretch>
        </p:blipFill>
        <p:spPr>
          <a:xfrm>
            <a:off x="328613" y="1465159"/>
            <a:ext cx="5562600" cy="3559382"/>
          </a:xfrm>
        </p:spPr>
      </p:pic>
      <p:sp>
        <p:nvSpPr>
          <p:cNvPr id="3" name="Text Placeholder 2">
            <a:extLst>
              <a:ext uri="{FF2B5EF4-FFF2-40B4-BE49-F238E27FC236}">
                <a16:creationId xmlns:a16="http://schemas.microsoft.com/office/drawing/2014/main" id="{EEF57B33-C66E-C6CA-A5E3-2DF8965F05F9}"/>
              </a:ext>
            </a:extLst>
          </p:cNvPr>
          <p:cNvSpPr>
            <a:spLocks noGrp="1"/>
          </p:cNvSpPr>
          <p:nvPr>
            <p:ph type="body" sz="quarter" idx="12"/>
          </p:nvPr>
        </p:nvSpPr>
        <p:spPr>
          <a:xfrm>
            <a:off x="6361504" y="1338865"/>
            <a:ext cx="5561943" cy="4924425"/>
          </a:xfrm>
        </p:spPr>
        <p:txBody>
          <a:bodyPr/>
          <a:lstStyle/>
          <a:p>
            <a:r>
              <a:rPr lang="en-US" sz="20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The definition of supervision is contextual. It varies by setting, by profession, and by intent. For example, supervision may be categorized as to whether it is managerial, clinical, personal, or professional. Further, an individual’s experience in a work setting with supervision may affect their understanding of who a supervisor is and what supervision entails. </a:t>
            </a:r>
          </a:p>
          <a:p>
            <a:endParaRPr lang="en-US" sz="20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endParaRPr>
          </a:p>
          <a:p>
            <a:r>
              <a:rPr lang="en-US" sz="20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The NDTR and other professional, technical, and support staff work under the </a:t>
            </a:r>
            <a:r>
              <a:rPr lang="en-US" sz="2000" b="1" dirty="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rPr>
              <a:t>clinical supervision </a:t>
            </a:r>
            <a:r>
              <a:rPr lang="en-US" sz="20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of the RDN when engaged in direct patient/client nutrition care activities in any setting. </a:t>
            </a:r>
          </a:p>
        </p:txBody>
      </p:sp>
      <p:sp>
        <p:nvSpPr>
          <p:cNvPr id="4" name="TextBox 3">
            <a:extLst>
              <a:ext uri="{FF2B5EF4-FFF2-40B4-BE49-F238E27FC236}">
                <a16:creationId xmlns:a16="http://schemas.microsoft.com/office/drawing/2014/main" id="{391509D0-9F84-D652-4D7A-52192FCEBD88}"/>
              </a:ext>
            </a:extLst>
          </p:cNvPr>
          <p:cNvSpPr txBox="1"/>
          <p:nvPr/>
        </p:nvSpPr>
        <p:spPr>
          <a:xfrm>
            <a:off x="6219537"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2" name="Audio 11" descr="Audio speaker icon">
            <a:hlinkClick r:id="" action="ppaction://media"/>
            <a:extLst>
              <a:ext uri="{FF2B5EF4-FFF2-40B4-BE49-F238E27FC236}">
                <a16:creationId xmlns:a16="http://schemas.microsoft.com/office/drawing/2014/main" id="{773C8E0E-2A4B-F282-947B-944BD64D3A09}"/>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078CADC-5F9F-9549-AC94-4E851969A611}"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08527810"/>
      </p:ext>
    </p:extLst>
  </p:cSld>
  <p:clrMapOvr>
    <a:masterClrMapping/>
  </p:clrMapOvr>
  <mc:AlternateContent xmlns:mc="http://schemas.openxmlformats.org/markup-compatibility/2006" xmlns:p14="http://schemas.microsoft.com/office/powerpoint/2010/main">
    <mc:Choice Requires="p14">
      <p:transition spd="slow" p14:dur="2000" advTm="105404"/>
    </mc:Choice>
    <mc:Fallback xmlns="">
      <p:transition spd="slow" advTm="1054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23E384-E2EC-A8BE-426E-AEF56EA434FF}"/>
              </a:ext>
            </a:extLst>
          </p:cNvPr>
          <p:cNvSpPr>
            <a:spLocks noGrp="1"/>
          </p:cNvSpPr>
          <p:nvPr>
            <p:ph type="title"/>
          </p:nvPr>
        </p:nvSpPr>
        <p:spPr>
          <a:xfrm>
            <a:off x="340093" y="527632"/>
            <a:ext cx="11511814" cy="492443"/>
          </a:xfrm>
        </p:spPr>
        <p:txBody>
          <a:bodyPr/>
          <a:lstStyle/>
          <a:p>
            <a:r>
              <a:rPr lang="en-US" sz="3200" kern="100" dirty="0">
                <a:effectLst/>
              </a:rPr>
              <a:t>NDTR’s Role in the NCP and Workflow Elements</a:t>
            </a:r>
            <a:endParaRPr lang="en-US" dirty="0"/>
          </a:p>
        </p:txBody>
      </p:sp>
      <p:graphicFrame>
        <p:nvGraphicFramePr>
          <p:cNvPr id="7" name="Table 6">
            <a:extLst>
              <a:ext uri="{FF2B5EF4-FFF2-40B4-BE49-F238E27FC236}">
                <a16:creationId xmlns:a16="http://schemas.microsoft.com/office/drawing/2014/main" id="{788AE909-44E4-4402-63E9-F36F8873FCB3}"/>
              </a:ext>
            </a:extLst>
          </p:cNvPr>
          <p:cNvGraphicFramePr>
            <a:graphicFrameLocks noGrp="1"/>
          </p:cNvGraphicFramePr>
          <p:nvPr>
            <p:extLst>
              <p:ext uri="{D42A27DB-BD31-4B8C-83A1-F6EECF244321}">
                <p14:modId xmlns:p14="http://schemas.microsoft.com/office/powerpoint/2010/main" val="2769585503"/>
              </p:ext>
            </p:extLst>
          </p:nvPr>
        </p:nvGraphicFramePr>
        <p:xfrm>
          <a:off x="340093" y="1169164"/>
          <a:ext cx="11672292" cy="4947779"/>
        </p:xfrm>
        <a:graphic>
          <a:graphicData uri="http://schemas.openxmlformats.org/drawingml/2006/table">
            <a:tbl>
              <a:tblPr firstRow="1" firstCol="1" bandRow="1">
                <a:tableStyleId>{16D9F66E-5EB9-4882-86FB-DCBF35E3C3E4}</a:tableStyleId>
              </a:tblPr>
              <a:tblGrid>
                <a:gridCol w="2400299">
                  <a:extLst>
                    <a:ext uri="{9D8B030D-6E8A-4147-A177-3AD203B41FA5}">
                      <a16:colId xmlns:a16="http://schemas.microsoft.com/office/drawing/2014/main" val="671884832"/>
                    </a:ext>
                  </a:extLst>
                </a:gridCol>
                <a:gridCol w="9271993">
                  <a:extLst>
                    <a:ext uri="{9D8B030D-6E8A-4147-A177-3AD203B41FA5}">
                      <a16:colId xmlns:a16="http://schemas.microsoft.com/office/drawing/2014/main" val="2277119837"/>
                    </a:ext>
                  </a:extLst>
                </a:gridCol>
              </a:tblGrid>
              <a:tr h="668972">
                <a:tc>
                  <a:txBody>
                    <a:bodyPr/>
                    <a:lstStyle/>
                    <a:p>
                      <a:pPr marL="0" marR="0">
                        <a:lnSpc>
                          <a:spcPct val="107000"/>
                        </a:lnSpc>
                        <a:spcBef>
                          <a:spcPts val="0"/>
                        </a:spcBef>
                        <a:spcAft>
                          <a:spcPts val="0"/>
                        </a:spcAft>
                      </a:pPr>
                      <a:r>
                        <a:rPr lang="en-US" sz="1800" kern="100" dirty="0">
                          <a:solidFill>
                            <a:schemeClr val="bg1"/>
                          </a:solidFill>
                          <a:effectLst/>
                        </a:rPr>
                        <a:t>Nutrition Screening</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lnB w="12700" cap="flat" cmpd="sng" algn="ctr">
                      <a:solidFill>
                        <a:schemeClr val="bg1"/>
                      </a:solidFill>
                      <a:prstDash val="solid"/>
                      <a:round/>
                      <a:headEnd type="none" w="med" len="med"/>
                      <a:tailEnd type="none" w="med" len="med"/>
                    </a:lnB>
                    <a:solidFill>
                      <a:schemeClr val="accent6"/>
                    </a:solidFill>
                  </a:tcPr>
                </a:tc>
                <a:tc>
                  <a:txBody>
                    <a:bodyPr/>
                    <a:lstStyle/>
                    <a:p>
                      <a:pPr marL="285750" marR="0" indent="-285750">
                        <a:lnSpc>
                          <a:spcPct val="107000"/>
                        </a:lnSpc>
                        <a:spcBef>
                          <a:spcPts val="0"/>
                        </a:spcBef>
                        <a:spcAft>
                          <a:spcPts val="0"/>
                        </a:spcAft>
                        <a:buFont typeface="Arial" panose="020B0604020202020204" pitchFamily="34" charset="0"/>
                        <a:buChar char="•"/>
                      </a:pPr>
                      <a:r>
                        <a:rPr lang="en-US" sz="1800" b="0" kern="1200" dirty="0">
                          <a:solidFill>
                            <a:schemeClr val="dk1"/>
                          </a:solidFill>
                          <a:effectLst/>
                        </a:rPr>
                        <a:t>Review nutrition screening completed by others or obtain and document screening data</a:t>
                      </a:r>
                      <a:endParaRPr lang="en-US" sz="1800" b="0" kern="100"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tc>
                <a:extLst>
                  <a:ext uri="{0D108BD9-81ED-4DB2-BD59-A6C34878D82A}">
                    <a16:rowId xmlns:a16="http://schemas.microsoft.com/office/drawing/2014/main" val="662689439"/>
                  </a:ext>
                </a:extLst>
              </a:tr>
              <a:tr h="741680">
                <a:tc>
                  <a:txBody>
                    <a:bodyPr/>
                    <a:lstStyle/>
                    <a:p>
                      <a:pPr marL="0" marR="0">
                        <a:lnSpc>
                          <a:spcPct val="107000"/>
                        </a:lnSpc>
                        <a:spcBef>
                          <a:spcPts val="0"/>
                        </a:spcBef>
                        <a:spcAft>
                          <a:spcPts val="0"/>
                        </a:spcAft>
                      </a:pPr>
                      <a:r>
                        <a:rPr lang="en-US" sz="1800" kern="100" dirty="0">
                          <a:solidFill>
                            <a:schemeClr val="bg1"/>
                          </a:solidFill>
                          <a:effectLst/>
                        </a:rPr>
                        <a:t>Nutrition Assessment</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marL="285750" marR="0" indent="-285750">
                        <a:lnSpc>
                          <a:spcPct val="107000"/>
                        </a:lnSpc>
                        <a:spcBef>
                          <a:spcPts val="0"/>
                        </a:spcBef>
                        <a:spcAft>
                          <a:spcPts val="0"/>
                        </a:spcAft>
                        <a:buFont typeface="Arial" panose="020B0604020202020204" pitchFamily="34" charset="0"/>
                        <a:buChar char="•"/>
                      </a:pPr>
                      <a:r>
                        <a:rPr lang="en-US" sz="1800" kern="100" dirty="0">
                          <a:effectLst/>
                        </a:rPr>
                        <a:t>Per RDN request or standard procedure, obtain and document specified data to contribute elements of the nutrition assessment or reassessment for completion by the RDN </a:t>
                      </a:r>
                      <a:endParaRPr lang="en-US" sz="1800" kern="100"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tc>
                <a:extLst>
                  <a:ext uri="{0D108BD9-81ED-4DB2-BD59-A6C34878D82A}">
                    <a16:rowId xmlns:a16="http://schemas.microsoft.com/office/drawing/2014/main" val="137591263"/>
                  </a:ext>
                </a:extLst>
              </a:tr>
              <a:tr h="731520">
                <a:tc>
                  <a:txBody>
                    <a:bodyPr/>
                    <a:lstStyle/>
                    <a:p>
                      <a:pPr marL="0" marR="0">
                        <a:lnSpc>
                          <a:spcPct val="107000"/>
                        </a:lnSpc>
                        <a:spcBef>
                          <a:spcPts val="0"/>
                        </a:spcBef>
                        <a:spcAft>
                          <a:spcPts val="0"/>
                        </a:spcAft>
                      </a:pPr>
                      <a:r>
                        <a:rPr lang="en-US" sz="1800" kern="100" dirty="0">
                          <a:solidFill>
                            <a:schemeClr val="bg1"/>
                          </a:solidFill>
                          <a:effectLst/>
                        </a:rPr>
                        <a:t>Nutrition Diagnosis</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marL="285750" marR="0" indent="-285750">
                        <a:lnSpc>
                          <a:spcPct val="107000"/>
                        </a:lnSpc>
                        <a:spcBef>
                          <a:spcPts val="0"/>
                        </a:spcBef>
                        <a:spcAft>
                          <a:spcPts val="0"/>
                        </a:spcAft>
                        <a:buFont typeface="Arial" panose="020B0604020202020204" pitchFamily="34" charset="0"/>
                        <a:buChar char="•"/>
                      </a:pPr>
                      <a:r>
                        <a:rPr lang="en-US" sz="1800" kern="1200" dirty="0">
                          <a:solidFill>
                            <a:schemeClr val="dk1"/>
                          </a:solidFill>
                          <a:effectLst/>
                        </a:rPr>
                        <a:t>Per RDN-assigned task, communicate and provide input to the RDN </a:t>
                      </a:r>
                      <a:endParaRPr lang="en-US" sz="1800" kern="100"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tc>
                <a:extLst>
                  <a:ext uri="{0D108BD9-81ED-4DB2-BD59-A6C34878D82A}">
                    <a16:rowId xmlns:a16="http://schemas.microsoft.com/office/drawing/2014/main" val="3467721013"/>
                  </a:ext>
                </a:extLst>
              </a:tr>
              <a:tr h="904240">
                <a:tc>
                  <a:txBody>
                    <a:bodyPr/>
                    <a:lstStyle/>
                    <a:p>
                      <a:pPr marL="0" marR="0">
                        <a:lnSpc>
                          <a:spcPct val="107000"/>
                        </a:lnSpc>
                        <a:spcBef>
                          <a:spcPts val="0"/>
                        </a:spcBef>
                        <a:spcAft>
                          <a:spcPts val="0"/>
                        </a:spcAft>
                      </a:pPr>
                      <a:r>
                        <a:rPr lang="en-US" sz="1800" kern="100" dirty="0">
                          <a:solidFill>
                            <a:schemeClr val="bg1"/>
                          </a:solidFill>
                          <a:effectLst/>
                        </a:rPr>
                        <a:t>Nutrition Intervention/ Plan of Care</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marL="285750" marR="0" indent="-285750">
                        <a:lnSpc>
                          <a:spcPct val="107000"/>
                        </a:lnSpc>
                        <a:spcBef>
                          <a:spcPts val="0"/>
                        </a:spcBef>
                        <a:spcAft>
                          <a:spcPts val="0"/>
                        </a:spcAft>
                        <a:buFont typeface="Arial" panose="020B0604020202020204" pitchFamily="34" charset="0"/>
                        <a:buChar char="•"/>
                      </a:pPr>
                      <a:r>
                        <a:rPr lang="en-US" sz="1800" kern="1200" dirty="0">
                          <a:solidFill>
                            <a:schemeClr val="dk1"/>
                          </a:solidFill>
                          <a:effectLst/>
                        </a:rPr>
                        <a:t>Implement/oversee standard operating procedures; assist with implementation of individualized patient/client/customer interventions and education as assigned by the RD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tc>
                <a:extLst>
                  <a:ext uri="{0D108BD9-81ED-4DB2-BD59-A6C34878D82A}">
                    <a16:rowId xmlns:a16="http://schemas.microsoft.com/office/drawing/2014/main" val="4221678901"/>
                  </a:ext>
                </a:extLst>
              </a:tr>
              <a:tr h="1034429">
                <a:tc>
                  <a:txBody>
                    <a:bodyPr/>
                    <a:lstStyle/>
                    <a:p>
                      <a:pPr marL="0" marR="0">
                        <a:lnSpc>
                          <a:spcPct val="107000"/>
                        </a:lnSpc>
                        <a:spcBef>
                          <a:spcPts val="0"/>
                        </a:spcBef>
                        <a:spcAft>
                          <a:spcPts val="0"/>
                        </a:spcAft>
                      </a:pPr>
                      <a:r>
                        <a:rPr lang="en-US" sz="1800" kern="100" dirty="0">
                          <a:solidFill>
                            <a:schemeClr val="bg1"/>
                          </a:solidFill>
                          <a:effectLst/>
                        </a:rPr>
                        <a:t>Nutrition Monitoring &amp; Evaluation</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pPr marL="285750" marR="0" indent="-285750">
                        <a:lnSpc>
                          <a:spcPct val="107000"/>
                        </a:lnSpc>
                        <a:spcBef>
                          <a:spcPts val="0"/>
                        </a:spcBef>
                        <a:spcAft>
                          <a:spcPts val="0"/>
                        </a:spcAft>
                        <a:buFont typeface="Arial" panose="020B0604020202020204" pitchFamily="34" charset="0"/>
                        <a:buChar char="•"/>
                      </a:pPr>
                      <a:r>
                        <a:rPr lang="en-US" sz="1800" kern="1200" dirty="0">
                          <a:solidFill>
                            <a:schemeClr val="dk1"/>
                          </a:solidFill>
                          <a:effectLst/>
                        </a:rPr>
                        <a:t>Implement/oversee duties performed by other nutrition and foodservice staff; monitor patient/client tolerance and acceptance of meals, snacks, nutritional supplements; document per procedure; and report to the RDN and other team members the results and observations of monitoring activitie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tc>
                <a:extLst>
                  <a:ext uri="{0D108BD9-81ED-4DB2-BD59-A6C34878D82A}">
                    <a16:rowId xmlns:a16="http://schemas.microsoft.com/office/drawing/2014/main" val="2791481335"/>
                  </a:ext>
                </a:extLst>
              </a:tr>
              <a:tr h="733411">
                <a:tc>
                  <a:txBody>
                    <a:bodyPr/>
                    <a:lstStyle/>
                    <a:p>
                      <a:pPr marL="0" marR="0">
                        <a:lnSpc>
                          <a:spcPct val="107000"/>
                        </a:lnSpc>
                        <a:spcBef>
                          <a:spcPts val="0"/>
                        </a:spcBef>
                        <a:spcAft>
                          <a:spcPts val="0"/>
                        </a:spcAft>
                      </a:pPr>
                      <a:r>
                        <a:rPr lang="en-US" sz="1800" kern="100" dirty="0">
                          <a:solidFill>
                            <a:schemeClr val="bg1"/>
                          </a:solidFill>
                          <a:effectLst/>
                        </a:rPr>
                        <a:t>Discharge Planning and Transition of Care</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lnT w="12700" cap="flat" cmpd="sng" algn="ctr">
                      <a:noFill/>
                      <a:prstDash val="solid"/>
                      <a:round/>
                      <a:headEnd type="none" w="med" len="med"/>
                      <a:tailEnd type="none" w="med" len="med"/>
                    </a:lnT>
                    <a:solidFill>
                      <a:schemeClr val="accent6"/>
                    </a:solidFill>
                  </a:tcPr>
                </a:tc>
                <a:tc>
                  <a:txBody>
                    <a:bodyPr/>
                    <a:lstStyle/>
                    <a:p>
                      <a:pPr marL="285750" marR="0" indent="-285750">
                        <a:lnSpc>
                          <a:spcPct val="107000"/>
                        </a:lnSpc>
                        <a:spcBef>
                          <a:spcPts val="0"/>
                        </a:spcBef>
                        <a:spcAft>
                          <a:spcPts val="0"/>
                        </a:spcAft>
                        <a:buFont typeface="Arial" panose="020B0604020202020204" pitchFamily="34" charset="0"/>
                        <a:buChar char="•"/>
                      </a:pPr>
                      <a:r>
                        <a:rPr lang="en-US" sz="1800" kern="1200" dirty="0">
                          <a:solidFill>
                            <a:schemeClr val="dk1"/>
                          </a:solidFill>
                          <a:effectLst/>
                        </a:rPr>
                        <a:t>Assist with or provide information as assigned by the RDN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55317" marR="55317" marT="0" marB="0" anchor="ctr"/>
                </a:tc>
                <a:extLst>
                  <a:ext uri="{0D108BD9-81ED-4DB2-BD59-A6C34878D82A}">
                    <a16:rowId xmlns:a16="http://schemas.microsoft.com/office/drawing/2014/main" val="1076212058"/>
                  </a:ext>
                </a:extLst>
              </a:tr>
            </a:tbl>
          </a:graphicData>
        </a:graphic>
      </p:graphicFrame>
      <p:sp>
        <p:nvSpPr>
          <p:cNvPr id="2" name="TextBox 1">
            <a:extLst>
              <a:ext uri="{FF2B5EF4-FFF2-40B4-BE49-F238E27FC236}">
                <a16:creationId xmlns:a16="http://schemas.microsoft.com/office/drawing/2014/main" id="{62F19253-EBBD-1D92-19FB-2A7E7F391BE8}"/>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0" name="Audio 9" descr="Audio speaker icon">
            <a:hlinkClick r:id="" action="ppaction://media"/>
            <a:extLst>
              <a:ext uri="{FF2B5EF4-FFF2-40B4-BE49-F238E27FC236}">
                <a16:creationId xmlns:a16="http://schemas.microsoft.com/office/drawing/2014/main" id="{654BFD1D-29C4-D76C-4284-E806DE183A9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865CE897-B52D-594E-AA22-CF8F9B1B19EA}" label="" lang="en-us" r:embed="rId5"/>
                        </p173:trackLst>
                      </p173:tracksInfo>
                    </p:ext>
                  </p14:extLst>
                </p14:media>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29841235"/>
      </p:ext>
    </p:extLst>
  </p:cSld>
  <p:clrMapOvr>
    <a:masterClrMapping/>
  </p:clrMapOvr>
  <mc:AlternateContent xmlns:mc="http://schemas.openxmlformats.org/markup-compatibility/2006" xmlns:p14="http://schemas.microsoft.com/office/powerpoint/2010/main">
    <mc:Choice Requires="p14">
      <p:transition spd="slow" p14:dur="2000" advTm="11269"/>
    </mc:Choice>
    <mc:Fallback xmlns="">
      <p:transition spd="slow" advTm="112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66620-8467-8509-F650-1E69C02BC27F}"/>
              </a:ext>
            </a:extLst>
          </p:cNvPr>
          <p:cNvSpPr>
            <a:spLocks noGrp="1"/>
          </p:cNvSpPr>
          <p:nvPr>
            <p:ph type="title"/>
          </p:nvPr>
        </p:nvSpPr>
        <p:spPr>
          <a:xfrm>
            <a:off x="340093" y="527632"/>
            <a:ext cx="11511814" cy="492443"/>
          </a:xfrm>
        </p:spPr>
        <p:txBody>
          <a:bodyPr/>
          <a:lstStyle/>
          <a:p>
            <a:r>
              <a:rPr lang="en-US" dirty="0"/>
              <a:t>STEPS to Create and Optimize the RDN-NDTR Team</a:t>
            </a:r>
          </a:p>
        </p:txBody>
      </p:sp>
      <p:pic>
        <p:nvPicPr>
          <p:cNvPr id="4" name="Picture 3" descr="4-column diagram of Steps to create and optimize the RDN-NDTR Team">
            <a:extLst>
              <a:ext uri="{FF2B5EF4-FFF2-40B4-BE49-F238E27FC236}">
                <a16:creationId xmlns:a16="http://schemas.microsoft.com/office/drawing/2014/main" id="{9572ABCE-DC69-A98C-33AD-0D448579A59C}"/>
              </a:ext>
            </a:extLst>
          </p:cNvPr>
          <p:cNvPicPr>
            <a:picLocks noChangeAspect="1"/>
          </p:cNvPicPr>
          <p:nvPr/>
        </p:nvPicPr>
        <p:blipFill rotWithShape="1">
          <a:blip r:embed="rId5"/>
          <a:srcRect l="5579" t="29188" r="5034" b="10631"/>
          <a:stretch/>
        </p:blipFill>
        <p:spPr>
          <a:xfrm>
            <a:off x="173830" y="1445740"/>
            <a:ext cx="11844339" cy="4485503"/>
          </a:xfrm>
          <a:prstGeom prst="rect">
            <a:avLst/>
          </a:prstGeom>
        </p:spPr>
      </p:pic>
      <p:sp>
        <p:nvSpPr>
          <p:cNvPr id="3" name="TextBox 2">
            <a:extLst>
              <a:ext uri="{FF2B5EF4-FFF2-40B4-BE49-F238E27FC236}">
                <a16:creationId xmlns:a16="http://schemas.microsoft.com/office/drawing/2014/main" id="{E74A31F4-F16F-BB6D-2C51-8C8F5BFC93DD}"/>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6" name="Audio 5" descr="Audio speaker icon">
            <a:hlinkClick r:id="" action="ppaction://media"/>
            <a:extLst>
              <a:ext uri="{FF2B5EF4-FFF2-40B4-BE49-F238E27FC236}">
                <a16:creationId xmlns:a16="http://schemas.microsoft.com/office/drawing/2014/main" id="{35A8C6B8-B4F8-10BC-C832-50B2ADB5B85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18852446-5149-A347-A83D-E5F7DAB98B06}"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123692507"/>
      </p:ext>
    </p:extLst>
  </p:cSld>
  <p:clrMapOvr>
    <a:masterClrMapping/>
  </p:clrMapOvr>
  <mc:AlternateContent xmlns:mc="http://schemas.openxmlformats.org/markup-compatibility/2006" xmlns:p14="http://schemas.microsoft.com/office/powerpoint/2010/main">
    <mc:Choice Requires="p14">
      <p:transition spd="slow" p14:dur="2000" advTm="40420"/>
    </mc:Choice>
    <mc:Fallback xmlns="">
      <p:transition spd="slow" advTm="4042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CDR PowerPoint Templates" id="{3D79AB26-A0C1-4A45-9B59-5E912CB49F9A}" vid="{A608F956-410D-2D4E-9B06-CFF3BB53AD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CDR PowerPoint Templates</Template>
  <TotalTime>1728</TotalTime>
  <Words>2358</Words>
  <Application>Microsoft Macintosh PowerPoint</Application>
  <PresentationFormat>Widescreen</PresentationFormat>
  <Paragraphs>150</Paragraphs>
  <Slides>14</Slides>
  <Notes>14</Notes>
  <HiddenSlides>0</HiddenSlides>
  <MMClips>14</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30" baseType="lpstr">
      <vt:lpstr>Aptos</vt:lpstr>
      <vt:lpstr>Arial</vt:lpstr>
      <vt:lpstr>Calibri</vt:lpstr>
      <vt:lpstr>Cambria</vt:lpstr>
      <vt:lpstr>Courier New</vt:lpstr>
      <vt:lpstr>Myriad Pro</vt:lpstr>
      <vt:lpstr>Myriad Pro Light</vt:lpstr>
      <vt:lpstr>Nunito Light</vt:lpstr>
      <vt:lpstr>Open Sans ExtraBold</vt:lpstr>
      <vt:lpstr>Open Sans Light</vt:lpstr>
      <vt:lpstr>Segoe UI</vt:lpstr>
      <vt:lpstr>Symbol</vt:lpstr>
      <vt:lpstr>Times New Roman</vt:lpstr>
      <vt:lpstr>Wingdings</vt:lpstr>
      <vt:lpstr>Office Theme</vt:lpstr>
      <vt:lpstr>think-cell Slide</vt:lpstr>
      <vt:lpstr>Practice Tools</vt:lpstr>
      <vt:lpstr>Supervision and Autonomy in the RDN-NDTR Team</vt:lpstr>
      <vt:lpstr>Individual Scope of Practice</vt:lpstr>
      <vt:lpstr>Individual Scope of Practice Diagram</vt:lpstr>
      <vt:lpstr>NDTRs and Autonomy</vt:lpstr>
      <vt:lpstr>NDTR Autonomy Decision Tree</vt:lpstr>
      <vt:lpstr>What does Supervision mean? </vt:lpstr>
      <vt:lpstr>NDTR’s Role in the NCP and Workflow Elements</vt:lpstr>
      <vt:lpstr>STEPS to Create and Optimize the RDN-NDTR Team</vt:lpstr>
      <vt:lpstr>When to Cosign</vt:lpstr>
      <vt:lpstr>What to consider when developing a cosigning policy</vt:lpstr>
      <vt:lpstr>How to Cosign </vt:lpstr>
      <vt:lpstr>When to Cosig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a Buelsing Sowards</dc:creator>
  <cp:lastModifiedBy>Andrew Larson</cp:lastModifiedBy>
  <cp:revision>29</cp:revision>
  <dcterms:created xsi:type="dcterms:W3CDTF">2023-11-09T19:19:18Z</dcterms:created>
  <dcterms:modified xsi:type="dcterms:W3CDTF">2026-05-21T20:57:47Z</dcterms:modified>
</cp:coreProperties>
</file>